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media/image23.jpg" ContentType="image/png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861" r:id="rId1"/>
  </p:sldMasterIdLst>
  <p:notesMasterIdLst>
    <p:notesMasterId r:id="rId19"/>
  </p:notesMasterIdLst>
  <p:handoutMasterIdLst>
    <p:handoutMasterId r:id="rId20"/>
  </p:handoutMasterIdLst>
  <p:sldIdLst>
    <p:sldId id="1946" r:id="rId2"/>
    <p:sldId id="1973" r:id="rId3"/>
    <p:sldId id="1996" r:id="rId4"/>
    <p:sldId id="1972" r:id="rId5"/>
    <p:sldId id="1992" r:id="rId6"/>
    <p:sldId id="1991" r:id="rId7"/>
    <p:sldId id="1999" r:id="rId8"/>
    <p:sldId id="1993" r:id="rId9"/>
    <p:sldId id="1995" r:id="rId10"/>
    <p:sldId id="1998" r:id="rId11"/>
    <p:sldId id="1981" r:id="rId12"/>
    <p:sldId id="1997" r:id="rId13"/>
    <p:sldId id="1994" r:id="rId14"/>
    <p:sldId id="1976" r:id="rId15"/>
    <p:sldId id="1968" r:id="rId16"/>
    <p:sldId id="1974" r:id="rId17"/>
    <p:sldId id="1869" r:id="rId18"/>
  </p:sldIdLst>
  <p:sldSz cx="12192000" cy="6858000"/>
  <p:notesSz cx="6797675" cy="9926638"/>
  <p:custDataLst>
    <p:tags r:id="rId2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43" kern="1200">
        <a:solidFill>
          <a:schemeClr val="tx1"/>
        </a:solidFill>
        <a:latin typeface="Arial" charset="0"/>
        <a:ea typeface="+mn-ea"/>
        <a:cs typeface="+mn-cs"/>
      </a:defRPr>
    </a:lvl1pPr>
    <a:lvl2pPr marL="609551" algn="l" rtl="0" fontAlgn="base">
      <a:spcBef>
        <a:spcPct val="0"/>
      </a:spcBef>
      <a:spcAft>
        <a:spcPct val="0"/>
      </a:spcAft>
      <a:defRPr sz="2143" kern="1200">
        <a:solidFill>
          <a:schemeClr val="tx1"/>
        </a:solidFill>
        <a:latin typeface="Arial" charset="0"/>
        <a:ea typeface="+mn-ea"/>
        <a:cs typeface="+mn-cs"/>
      </a:defRPr>
    </a:lvl2pPr>
    <a:lvl3pPr marL="1219101" algn="l" rtl="0" fontAlgn="base">
      <a:spcBef>
        <a:spcPct val="0"/>
      </a:spcBef>
      <a:spcAft>
        <a:spcPct val="0"/>
      </a:spcAft>
      <a:defRPr sz="2143" kern="1200">
        <a:solidFill>
          <a:schemeClr val="tx1"/>
        </a:solidFill>
        <a:latin typeface="Arial" charset="0"/>
        <a:ea typeface="+mn-ea"/>
        <a:cs typeface="+mn-cs"/>
      </a:defRPr>
    </a:lvl3pPr>
    <a:lvl4pPr marL="1828653" algn="l" rtl="0" fontAlgn="base">
      <a:spcBef>
        <a:spcPct val="0"/>
      </a:spcBef>
      <a:spcAft>
        <a:spcPct val="0"/>
      </a:spcAft>
      <a:defRPr sz="2143" kern="1200">
        <a:solidFill>
          <a:schemeClr val="tx1"/>
        </a:solidFill>
        <a:latin typeface="Arial" charset="0"/>
        <a:ea typeface="+mn-ea"/>
        <a:cs typeface="+mn-cs"/>
      </a:defRPr>
    </a:lvl4pPr>
    <a:lvl5pPr marL="2438204" algn="l" rtl="0" fontAlgn="base">
      <a:spcBef>
        <a:spcPct val="0"/>
      </a:spcBef>
      <a:spcAft>
        <a:spcPct val="0"/>
      </a:spcAft>
      <a:defRPr sz="2143" kern="1200">
        <a:solidFill>
          <a:schemeClr val="tx1"/>
        </a:solidFill>
        <a:latin typeface="Arial" charset="0"/>
        <a:ea typeface="+mn-ea"/>
        <a:cs typeface="+mn-cs"/>
      </a:defRPr>
    </a:lvl5pPr>
    <a:lvl6pPr marL="3047754" algn="l" defTabSz="1219101" rtl="0" eaLnBrk="1" latinLnBrk="0" hangingPunct="1">
      <a:defRPr sz="2143" kern="1200">
        <a:solidFill>
          <a:schemeClr val="tx1"/>
        </a:solidFill>
        <a:latin typeface="Arial" charset="0"/>
        <a:ea typeface="+mn-ea"/>
        <a:cs typeface="+mn-cs"/>
      </a:defRPr>
    </a:lvl6pPr>
    <a:lvl7pPr marL="3657305" algn="l" defTabSz="1219101" rtl="0" eaLnBrk="1" latinLnBrk="0" hangingPunct="1">
      <a:defRPr sz="2143" kern="1200">
        <a:solidFill>
          <a:schemeClr val="tx1"/>
        </a:solidFill>
        <a:latin typeface="Arial" charset="0"/>
        <a:ea typeface="+mn-ea"/>
        <a:cs typeface="+mn-cs"/>
      </a:defRPr>
    </a:lvl7pPr>
    <a:lvl8pPr marL="4266857" algn="l" defTabSz="1219101" rtl="0" eaLnBrk="1" latinLnBrk="0" hangingPunct="1">
      <a:defRPr sz="2143" kern="1200">
        <a:solidFill>
          <a:schemeClr val="tx1"/>
        </a:solidFill>
        <a:latin typeface="Arial" charset="0"/>
        <a:ea typeface="+mn-ea"/>
        <a:cs typeface="+mn-cs"/>
      </a:defRPr>
    </a:lvl8pPr>
    <a:lvl9pPr marL="4876408" algn="l" defTabSz="1219101" rtl="0" eaLnBrk="1" latinLnBrk="0" hangingPunct="1">
      <a:defRPr sz="2143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70F51F12-8F60-49DD-B339-C98EF75B5630}">
          <p14:sldIdLst/>
        </p14:section>
        <p14:section name="РУСТЭК" id="{2336F705-A937-420C-81D1-F7D522F213CA}">
          <p14:sldIdLst>
            <p14:sldId id="1946"/>
            <p14:sldId id="1973"/>
            <p14:sldId id="1996"/>
            <p14:sldId id="1972"/>
            <p14:sldId id="1992"/>
            <p14:sldId id="1991"/>
            <p14:sldId id="1999"/>
            <p14:sldId id="1993"/>
            <p14:sldId id="1995"/>
            <p14:sldId id="1998"/>
            <p14:sldId id="1981"/>
            <p14:sldId id="1997"/>
            <p14:sldId id="1994"/>
            <p14:sldId id="1976"/>
            <p14:sldId id="1968"/>
            <p14:sldId id="1974"/>
            <p14:sldId id="186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457" userDrawn="1">
          <p15:clr>
            <a:srgbClr val="A4A3A4"/>
          </p15:clr>
        </p15:guide>
        <p15:guide id="2" orient="horz" pos="2727" userDrawn="1">
          <p15:clr>
            <a:srgbClr val="A4A3A4"/>
          </p15:clr>
        </p15:guide>
        <p15:guide id="3" orient="horz" pos="2999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5" pos="2615" userDrawn="1">
          <p15:clr>
            <a:srgbClr val="A4A3A4"/>
          </p15:clr>
        </p15:guide>
        <p15:guide id="6" pos="4019" userDrawn="1">
          <p15:clr>
            <a:srgbClr val="A4A3A4"/>
          </p15:clr>
        </p15:guide>
        <p15:guide id="7" pos="370" userDrawn="1">
          <p15:clr>
            <a:srgbClr val="A4A3A4"/>
          </p15:clr>
        </p15:guide>
        <p15:guide id="8" orient="horz" pos="2001" userDrawn="1">
          <p15:clr>
            <a:srgbClr val="A4A3A4"/>
          </p15:clr>
        </p15:guide>
        <p15:guide id="9" pos="688" userDrawn="1">
          <p15:clr>
            <a:srgbClr val="A4A3A4"/>
          </p15:clr>
        </p15:guide>
        <p15:guide id="10" pos="82" userDrawn="1">
          <p15:clr>
            <a:srgbClr val="A4A3A4"/>
          </p15:clr>
        </p15:guide>
        <p15:guide id="12" pos="7542" userDrawn="1">
          <p15:clr>
            <a:srgbClr val="A4A3A4"/>
          </p15:clr>
        </p15:guide>
        <p15:guide id="13" pos="6191" userDrawn="1">
          <p15:clr>
            <a:srgbClr val="A4A3A4"/>
          </p15:clr>
        </p15:guide>
        <p15:guide id="14" pos="3182" userDrawn="1">
          <p15:clr>
            <a:srgbClr val="A4A3A4"/>
          </p15:clr>
        </p15:guide>
        <p15:guide id="15" pos="5496" userDrawn="1">
          <p15:clr>
            <a:srgbClr val="A4A3A4"/>
          </p15:clr>
        </p15:guide>
        <p15:guide id="16" pos="7004" userDrawn="1">
          <p15:clr>
            <a:srgbClr val="A4A3A4"/>
          </p15:clr>
        </p15:guide>
        <p15:guide id="17" pos="226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90" userDrawn="1">
          <p15:clr>
            <a:srgbClr val="A4A3A4"/>
          </p15:clr>
        </p15:guide>
        <p15:guide id="2" pos="2106" userDrawn="1">
          <p15:clr>
            <a:srgbClr val="A4A3A4"/>
          </p15:clr>
        </p15:guide>
        <p15:guide id="3" orient="horz" pos="3103" userDrawn="1">
          <p15:clr>
            <a:srgbClr val="A4A3A4"/>
          </p15:clr>
        </p15:guide>
        <p15:guide id="4" pos="2120" userDrawn="1">
          <p15:clr>
            <a:srgbClr val="A4A3A4"/>
          </p15:clr>
        </p15:guide>
        <p15:guide id="5" orient="horz" pos="3114" userDrawn="1">
          <p15:clr>
            <a:srgbClr val="A4A3A4"/>
          </p15:clr>
        </p15:guide>
        <p15:guide id="6" orient="horz" pos="3127" userDrawn="1">
          <p15:clr>
            <a:srgbClr val="A4A3A4"/>
          </p15:clr>
        </p15:guide>
        <p15:guide id="7" pos="2128" userDrawn="1">
          <p15:clr>
            <a:srgbClr val="A4A3A4"/>
          </p15:clr>
        </p15:guide>
        <p15:guide id="8" pos="2143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31178"/>
    <a:srgbClr val="6D6E70"/>
    <a:srgbClr val="202020"/>
    <a:srgbClr val="F3F3F4"/>
    <a:srgbClr val="3D1468"/>
    <a:srgbClr val="41146A"/>
    <a:srgbClr val="43115E"/>
    <a:srgbClr val="3E1255"/>
    <a:srgbClr val="FFFFFF"/>
    <a:srgbClr val="4915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55" autoAdjust="0"/>
    <p:restoredTop sz="97000" autoAdjust="0"/>
  </p:normalViewPr>
  <p:slideViewPr>
    <p:cSldViewPr snapToGrid="0">
      <p:cViewPr varScale="1">
        <p:scale>
          <a:sx n="88" d="100"/>
          <a:sy n="88" d="100"/>
        </p:scale>
        <p:origin x="739" y="62"/>
      </p:cViewPr>
      <p:guideLst>
        <p:guide orient="horz" pos="1457"/>
        <p:guide orient="horz" pos="2727"/>
        <p:guide orient="horz" pos="2999"/>
        <p:guide orient="horz" pos="3861"/>
        <p:guide pos="2615"/>
        <p:guide pos="4019"/>
        <p:guide pos="370"/>
        <p:guide orient="horz" pos="2001"/>
        <p:guide pos="688"/>
        <p:guide pos="82"/>
        <p:guide pos="7542"/>
        <p:guide pos="6191"/>
        <p:guide pos="3182"/>
        <p:guide pos="5496"/>
        <p:guide pos="7004"/>
        <p:guide pos="226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3956" y="60"/>
      </p:cViewPr>
      <p:guideLst>
        <p:guide orient="horz" pos="3090"/>
        <p:guide pos="2106"/>
        <p:guide orient="horz" pos="3103"/>
        <p:guide pos="2120"/>
        <p:guide orient="horz" pos="3114"/>
        <p:guide orient="horz" pos="3127"/>
        <p:guide pos="2128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479425" y="622300"/>
            <a:ext cx="7762875" cy="436721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3" y="5333987"/>
            <a:ext cx="5792746" cy="16488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dirty="0" err="1"/>
              <a:t>Click</a:t>
            </a:r>
            <a:r>
              <a:rPr lang="ru-RU" noProof="0" dirty="0"/>
              <a:t> </a:t>
            </a:r>
            <a:r>
              <a:rPr lang="ru-RU" noProof="0" dirty="0" err="1"/>
              <a:t>to</a:t>
            </a:r>
            <a:r>
              <a:rPr lang="ru-RU" noProof="0" dirty="0"/>
              <a:t> </a:t>
            </a:r>
            <a:r>
              <a:rPr lang="ru-RU" noProof="0" dirty="0" err="1"/>
              <a:t>edit</a:t>
            </a:r>
            <a:r>
              <a:rPr lang="ru-RU" noProof="0" dirty="0"/>
              <a:t> </a:t>
            </a:r>
            <a:r>
              <a:rPr lang="ru-RU" noProof="0" dirty="0" err="1"/>
              <a:t>Master</a:t>
            </a:r>
            <a:r>
              <a:rPr lang="ru-RU" noProof="0" dirty="0"/>
              <a:t> </a:t>
            </a:r>
            <a:r>
              <a:rPr lang="ru-RU" noProof="0" dirty="0" err="1"/>
              <a:t>text</a:t>
            </a:r>
            <a:r>
              <a:rPr lang="ru-RU" noProof="0" dirty="0"/>
              <a:t> </a:t>
            </a:r>
            <a:r>
              <a:rPr lang="ru-RU" noProof="0" dirty="0" err="1"/>
              <a:t>styles</a:t>
            </a:r>
            <a:endParaRPr lang="ru-RU" noProof="0" dirty="0"/>
          </a:p>
          <a:p>
            <a:pPr lvl="1"/>
            <a:r>
              <a:rPr lang="ru-RU" noProof="0" dirty="0" err="1"/>
              <a:t>Second</a:t>
            </a:r>
            <a:r>
              <a:rPr lang="ru-RU" noProof="0" dirty="0"/>
              <a:t> </a:t>
            </a:r>
            <a:r>
              <a:rPr lang="ru-RU" noProof="0" dirty="0" err="1"/>
              <a:t>level</a:t>
            </a:r>
            <a:endParaRPr lang="ru-RU" noProof="0" dirty="0"/>
          </a:p>
          <a:p>
            <a:pPr lvl="2"/>
            <a:r>
              <a:rPr lang="ru-RU" noProof="0" dirty="0" err="1"/>
              <a:t>Third</a:t>
            </a:r>
            <a:r>
              <a:rPr lang="ru-RU" noProof="0" dirty="0"/>
              <a:t> </a:t>
            </a:r>
            <a:r>
              <a:rPr lang="ru-RU" noProof="0" dirty="0" err="1"/>
              <a:t>level</a:t>
            </a:r>
            <a:endParaRPr lang="ru-RU" noProof="0" dirty="0"/>
          </a:p>
          <a:p>
            <a:pPr lvl="3"/>
            <a:r>
              <a:rPr lang="ru-RU" noProof="0" dirty="0" err="1"/>
              <a:t>Fourth</a:t>
            </a:r>
            <a:r>
              <a:rPr lang="ru-RU" noProof="0" dirty="0"/>
              <a:t> </a:t>
            </a:r>
            <a:r>
              <a:rPr lang="ru-RU" noProof="0" dirty="0" err="1"/>
              <a:t>level</a:t>
            </a:r>
            <a:endParaRPr lang="ru-RU" noProof="0" dirty="0"/>
          </a:p>
          <a:p>
            <a:pPr lvl="4"/>
            <a:r>
              <a:rPr lang="ru-RU" noProof="0" dirty="0" err="1"/>
              <a:t>Fifth</a:t>
            </a:r>
            <a:r>
              <a:rPr lang="ru-RU" noProof="0" dirty="0"/>
              <a:t> </a:t>
            </a:r>
            <a:r>
              <a:rPr lang="ru-RU" noProof="0" dirty="0" err="1"/>
              <a:t>level</a:t>
            </a:r>
            <a:endParaRPr lang="ru-RU" noProof="0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85" y="9545924"/>
            <a:ext cx="539269" cy="1850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92" y="110488"/>
            <a:ext cx="66" cy="1233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1193704" rtl="0" eaLnBrk="0" fontAlgn="base" hangingPunct="0">
      <a:spcBef>
        <a:spcPct val="0"/>
      </a:spcBef>
      <a:spcAft>
        <a:spcPct val="0"/>
      </a:spcAft>
      <a:buClr>
        <a:schemeClr val="tx2"/>
      </a:buClr>
      <a:defRPr sz="2143" kern="1200">
        <a:solidFill>
          <a:schemeClr val="tx1"/>
        </a:solidFill>
        <a:latin typeface="Arial" charset="0"/>
        <a:ea typeface="+mn-ea"/>
        <a:cs typeface="+mn-cs"/>
      </a:defRPr>
    </a:lvl1pPr>
    <a:lvl2pPr marL="156621" indent="-154505" algn="l" defTabSz="1193704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2143" kern="1200">
        <a:solidFill>
          <a:schemeClr val="tx1"/>
        </a:solidFill>
        <a:latin typeface="Arial" charset="0"/>
        <a:ea typeface="+mn-ea"/>
        <a:cs typeface="+mn-cs"/>
      </a:defRPr>
    </a:lvl2pPr>
    <a:lvl3pPr marL="400019" indent="-241281" algn="l" defTabSz="1193704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2143" kern="1200">
        <a:solidFill>
          <a:schemeClr val="tx1"/>
        </a:solidFill>
        <a:latin typeface="Arial" charset="0"/>
        <a:ea typeface="+mn-ea"/>
        <a:cs typeface="+mn-cs"/>
      </a:defRPr>
    </a:lvl3pPr>
    <a:lvl4pPr marL="569339" indent="-167204" algn="l" defTabSz="1193704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2143" kern="1200">
        <a:solidFill>
          <a:schemeClr val="tx1"/>
        </a:solidFill>
        <a:latin typeface="Arial" charset="0"/>
        <a:ea typeface="+mn-ea"/>
        <a:cs typeface="+mn-cs"/>
      </a:defRPr>
    </a:lvl4pPr>
    <a:lvl5pPr marL="723842" indent="-152388" algn="l" defTabSz="1193704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2143" kern="1200">
        <a:solidFill>
          <a:schemeClr val="tx1"/>
        </a:solidFill>
        <a:latin typeface="Arial" charset="0"/>
        <a:ea typeface="+mn-ea"/>
        <a:cs typeface="+mn-cs"/>
      </a:defRPr>
    </a:lvl5pPr>
    <a:lvl6pPr marL="3047754" algn="l" defTabSz="1219101" rtl="0" eaLnBrk="1" latinLnBrk="0" hangingPunct="1">
      <a:defRPr sz="1632" kern="1200">
        <a:solidFill>
          <a:schemeClr val="tx1"/>
        </a:solidFill>
        <a:latin typeface="+mn-lt"/>
        <a:ea typeface="+mn-ea"/>
        <a:cs typeface="+mn-cs"/>
      </a:defRPr>
    </a:lvl6pPr>
    <a:lvl7pPr marL="3657305" algn="l" defTabSz="1219101" rtl="0" eaLnBrk="1" latinLnBrk="0" hangingPunct="1">
      <a:defRPr sz="1632" kern="1200">
        <a:solidFill>
          <a:schemeClr val="tx1"/>
        </a:solidFill>
        <a:latin typeface="+mn-lt"/>
        <a:ea typeface="+mn-ea"/>
        <a:cs typeface="+mn-cs"/>
      </a:defRPr>
    </a:lvl7pPr>
    <a:lvl8pPr marL="4266857" algn="l" defTabSz="1219101" rtl="0" eaLnBrk="1" latinLnBrk="0" hangingPunct="1">
      <a:defRPr sz="1632" kern="1200">
        <a:solidFill>
          <a:schemeClr val="tx1"/>
        </a:solidFill>
        <a:latin typeface="+mn-lt"/>
        <a:ea typeface="+mn-ea"/>
        <a:cs typeface="+mn-cs"/>
      </a:defRPr>
    </a:lvl8pPr>
    <a:lvl9pPr marL="4876408" algn="l" defTabSz="1219101" rtl="0" eaLnBrk="1" latinLnBrk="0" hangingPunct="1">
      <a:defRPr sz="163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24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ы  доверяем клиентскому опыту, больше чем в классическому продуктовому подходу.  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24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Запросы клиентов определяют приоритеты дорожной карты.</a:t>
            </a:r>
            <a:endParaRPr lang="en-US" sz="24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24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епрерывная оптимизация стоимости обслуживания для клиента. 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24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ждый новый релиз должен упрощать эксплуатацию платформы, а не усложнять её.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24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реносим лучшие практики из </a:t>
            </a:r>
            <a:r>
              <a:rPr lang="en-US" sz="24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ublic Cloud </a:t>
            </a:r>
            <a:r>
              <a:rPr lang="ru-RU" sz="24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</a:t>
            </a:r>
            <a:r>
              <a:rPr lang="en-US" sz="24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rivate Cloud</a:t>
            </a:r>
            <a:endParaRPr lang="ru-RU" sz="2400" b="1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24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се члены команды принимают участие в обсуждении  дорожной карты продуктов. ИТ, Эксплуатация и Техподдержка равноправные участники.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24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ы используем исключительно самые современные методы и средства разработки: предпочтение концепции </a:t>
            </a:r>
            <a:r>
              <a:rPr lang="ru-RU" sz="2400" dirty="0" err="1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ннеров</a:t>
            </a:r>
            <a:r>
              <a:rPr lang="ru-RU" sz="24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то есть </a:t>
            </a:r>
            <a:r>
              <a:rPr lang="ru-RU" sz="2400" dirty="0" err="1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кросервисов</a:t>
            </a:r>
            <a:r>
              <a:rPr lang="ru-RU" sz="24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а не монолитной архитектуры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77377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24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ы  доверяем клиентскому опыту, больше чем в классическому продуктовому подходу.  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24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Запросы клиентов определяют приоритеты дорожной карты.</a:t>
            </a:r>
            <a:endParaRPr lang="en-US" sz="240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24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епрерывная оптимизация стоимости обслуживания для клиента. 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24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ждый новый релиз должен упрощать эксплуатацию платформы, а не усложнять её.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24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реносим лучшие практики из </a:t>
            </a:r>
            <a:r>
              <a:rPr lang="en-US" sz="24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ublic Cloud </a:t>
            </a:r>
            <a:r>
              <a:rPr lang="ru-RU" sz="24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</a:t>
            </a:r>
            <a:r>
              <a:rPr lang="en-US" sz="24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rivate Cloud</a:t>
            </a:r>
            <a:endParaRPr lang="ru-RU" sz="2400" b="1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24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се члены команды принимают участие в обсуждении  дорожной карты продуктов. ИТ, Эксплуатация и Техподдержка равноправные участники.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24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ы используем исключительно самые современные методы и средства разработки: предпочтение концепции </a:t>
            </a:r>
            <a:r>
              <a:rPr lang="ru-RU" sz="2400" dirty="0" err="1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ннеров</a:t>
            </a:r>
            <a:r>
              <a:rPr lang="ru-RU" sz="24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то есть </a:t>
            </a:r>
            <a:r>
              <a:rPr lang="ru-RU" sz="2400" dirty="0" err="1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кросервисов</a:t>
            </a:r>
            <a:r>
              <a:rPr lang="ru-RU" sz="24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а не монолитной архитектуры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20569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24456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165933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4284785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13080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подзаголовок" preserve="1" userDrawn="1">
  <p:cSld name="1_Заголовок и подзаголовок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F23E6B4-BFC5-0F48-987F-50C4506484B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2" y="0"/>
            <a:ext cx="11761671" cy="5815584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B2ACB55-12A3-9D43-8713-D61BC8DCAB84}"/>
              </a:ext>
            </a:extLst>
          </p:cNvPr>
          <p:cNvSpPr/>
          <p:nvPr userDrawn="1"/>
        </p:nvSpPr>
        <p:spPr>
          <a:xfrm>
            <a:off x="4326035" y="6406930"/>
            <a:ext cx="3539932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ts val="5900"/>
            </a:pPr>
            <a:r>
              <a:rPr lang="en-US" sz="700" b="0" i="0" spc="150" dirty="0">
                <a:solidFill>
                  <a:srgbClr val="C3C7DC"/>
                </a:solidFill>
                <a:latin typeface="SF PRO DISPLAY LIGHT" pitchFamily="2" charset="0"/>
                <a:ea typeface="SF PRO DISPLAY LIGHT" pitchFamily="2" charset="0"/>
                <a:cs typeface="SF PRO DISPLAY LIGHT" pitchFamily="2" charset="0"/>
                <a:sym typeface="Tahoma"/>
              </a:rPr>
              <a:t>www.sbcloud.ru</a:t>
            </a:r>
            <a:endParaRPr lang="ru-RU" sz="700" b="0" i="0" spc="150" dirty="0">
              <a:solidFill>
                <a:srgbClr val="C3C7DC"/>
              </a:solidFill>
              <a:latin typeface="SF PRO DISPLAY LIGHT" pitchFamily="2" charset="0"/>
              <a:ea typeface="SF PRO DISPLAY LIGHT" pitchFamily="2" charset="0"/>
              <a:cs typeface="SF PRO DISPLAY LIGHT" pitchFamily="2" charset="0"/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49F54B69-55A1-C44F-AD6B-89C28707F89D}"/>
              </a:ext>
            </a:extLst>
          </p:cNvPr>
          <p:cNvCxnSpPr>
            <a:cxnSpLocks/>
          </p:cNvCxnSpPr>
          <p:nvPr userDrawn="1"/>
        </p:nvCxnSpPr>
        <p:spPr>
          <a:xfrm>
            <a:off x="515144" y="6490962"/>
            <a:ext cx="3719399" cy="1213"/>
          </a:xfrm>
          <a:prstGeom prst="line">
            <a:avLst/>
          </a:prstGeom>
          <a:ln w="12700" cmpd="sng">
            <a:solidFill>
              <a:srgbClr val="C3C7DC">
                <a:alpha val="79000"/>
              </a:srgb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15A07AEF-8475-A947-9311-D2B89CE883F2}"/>
              </a:ext>
            </a:extLst>
          </p:cNvPr>
          <p:cNvCxnSpPr>
            <a:cxnSpLocks/>
          </p:cNvCxnSpPr>
          <p:nvPr userDrawn="1"/>
        </p:nvCxnSpPr>
        <p:spPr>
          <a:xfrm>
            <a:off x="7957457" y="6490962"/>
            <a:ext cx="3719399" cy="1213"/>
          </a:xfrm>
          <a:prstGeom prst="line">
            <a:avLst/>
          </a:prstGeom>
          <a:ln w="12700" cmpd="sng">
            <a:solidFill>
              <a:srgbClr val="C3C7DC">
                <a:alpha val="79000"/>
              </a:srgb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5067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подзаголовок" preserve="1" userDrawn="1">
  <p:cSld name="1_Заголовок и подзаголовок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F23E6B4-BFC5-0F48-987F-50C4506484B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2" y="0"/>
            <a:ext cx="11761671" cy="5815584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B2ACB55-12A3-9D43-8713-D61BC8DCAB84}"/>
              </a:ext>
            </a:extLst>
          </p:cNvPr>
          <p:cNvSpPr/>
          <p:nvPr userDrawn="1"/>
        </p:nvSpPr>
        <p:spPr>
          <a:xfrm>
            <a:off x="4326035" y="6406930"/>
            <a:ext cx="3539932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ts val="5900"/>
            </a:pPr>
            <a:r>
              <a:rPr lang="en-US" sz="700" b="0" i="0" spc="150" dirty="0">
                <a:solidFill>
                  <a:srgbClr val="C3C7DC"/>
                </a:solidFill>
                <a:latin typeface="SF PRO DISPLAY LIGHT" pitchFamily="2" charset="0"/>
                <a:ea typeface="SF PRO DISPLAY LIGHT" pitchFamily="2" charset="0"/>
                <a:cs typeface="SF PRO DISPLAY LIGHT" pitchFamily="2" charset="0"/>
                <a:sym typeface="Tahoma"/>
              </a:rPr>
              <a:t>www.sbcloud.ru</a:t>
            </a:r>
            <a:endParaRPr lang="ru-RU" sz="700" b="0" i="0" spc="150" dirty="0">
              <a:solidFill>
                <a:srgbClr val="C3C7DC"/>
              </a:solidFill>
              <a:latin typeface="SF PRO DISPLAY LIGHT" pitchFamily="2" charset="0"/>
              <a:ea typeface="SF PRO DISPLAY LIGHT" pitchFamily="2" charset="0"/>
              <a:cs typeface="SF PRO DISPLAY LIGHT" pitchFamily="2" charset="0"/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49F54B69-55A1-C44F-AD6B-89C28707F89D}"/>
              </a:ext>
            </a:extLst>
          </p:cNvPr>
          <p:cNvCxnSpPr>
            <a:cxnSpLocks/>
          </p:cNvCxnSpPr>
          <p:nvPr userDrawn="1"/>
        </p:nvCxnSpPr>
        <p:spPr>
          <a:xfrm>
            <a:off x="515144" y="6490962"/>
            <a:ext cx="3719399" cy="1213"/>
          </a:xfrm>
          <a:prstGeom prst="line">
            <a:avLst/>
          </a:prstGeom>
          <a:ln w="12700" cmpd="sng">
            <a:solidFill>
              <a:srgbClr val="C3C7DC">
                <a:alpha val="79000"/>
              </a:srgb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15A07AEF-8475-A947-9311-D2B89CE883F2}"/>
              </a:ext>
            </a:extLst>
          </p:cNvPr>
          <p:cNvCxnSpPr>
            <a:cxnSpLocks/>
          </p:cNvCxnSpPr>
          <p:nvPr userDrawn="1"/>
        </p:nvCxnSpPr>
        <p:spPr>
          <a:xfrm>
            <a:off x="7957457" y="6490962"/>
            <a:ext cx="3719399" cy="1213"/>
          </a:xfrm>
          <a:prstGeom prst="line">
            <a:avLst/>
          </a:prstGeom>
          <a:ln w="12700" cmpd="sng">
            <a:solidFill>
              <a:srgbClr val="C3C7DC">
                <a:alpha val="79000"/>
              </a:srgb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7750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2485488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Номер слайда"/>
          <p:cNvSpPr txBox="1">
            <a:spLocks/>
          </p:cNvSpPr>
          <p:nvPr userDrawn="1"/>
        </p:nvSpPr>
        <p:spPr>
          <a:xfrm>
            <a:off x="11803850" y="6648462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ctr"/>
            <a:fld id="{42C328C1-A84F-4A39-A664-DBA00541A8C6}" type="slidenum">
              <a:rPr lang="en-US" sz="1020" b="0" i="0" smtClean="0">
                <a:solidFill>
                  <a:srgbClr val="8594A7"/>
                </a:solidFill>
                <a:latin typeface="+mj-lt"/>
              </a:rPr>
              <a:pPr lvl="0" algn="ctr"/>
              <a:t>‹#›</a:t>
            </a:fld>
            <a:endParaRPr lang="en-US" sz="1020" b="0" i="0" dirty="0">
              <a:solidFill>
                <a:srgbClr val="8594A7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15893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6" r:id="rId2"/>
    <p:sldLayoutId id="2147483877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22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.emf"/><Relationship Id="rId15" Type="http://schemas.openxmlformats.org/officeDocument/2006/relationships/image" Target="../media/image6.png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27.png"/><Relationship Id="rId1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33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png"/><Relationship Id="rId12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11" Type="http://schemas.openxmlformats.org/officeDocument/2006/relationships/image" Target="../media/image5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5.png"/><Relationship Id="rId2" Type="http://schemas.openxmlformats.org/officeDocument/2006/relationships/tags" Target="../tags/tag7.xml"/><Relationship Id="rId16" Type="http://schemas.openxmlformats.org/officeDocument/2006/relationships/image" Target="../media/image20.png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22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8" y="0"/>
            <a:ext cx="12192007" cy="6886668"/>
          </a:xfrm>
          <a:prstGeom prst="rect">
            <a:avLst/>
          </a:prstGeom>
        </p:spPr>
      </p:pic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4" descr="http://www.tadviser.ru/images/thumb/b/b6/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/680px-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Скругленный прямоугольник 10"/>
          <p:cNvSpPr/>
          <p:nvPr/>
        </p:nvSpPr>
        <p:spPr>
          <a:xfrm rot="10800000">
            <a:off x="1270035" y="3739905"/>
            <a:ext cx="9348859" cy="88547"/>
          </a:xfrm>
          <a:custGeom>
            <a:avLst/>
            <a:gdLst>
              <a:gd name="connsiteX0" fmla="*/ 0 w 5227536"/>
              <a:gd name="connsiteY0" fmla="*/ 203708 h 1222224"/>
              <a:gd name="connsiteX1" fmla="*/ 203708 w 5227536"/>
              <a:gd name="connsiteY1" fmla="*/ 0 h 1222224"/>
              <a:gd name="connsiteX2" fmla="*/ 5023828 w 5227536"/>
              <a:gd name="connsiteY2" fmla="*/ 0 h 1222224"/>
              <a:gd name="connsiteX3" fmla="*/ 5227536 w 5227536"/>
              <a:gd name="connsiteY3" fmla="*/ 203708 h 1222224"/>
              <a:gd name="connsiteX4" fmla="*/ 5227536 w 5227536"/>
              <a:gd name="connsiteY4" fmla="*/ 1018516 h 1222224"/>
              <a:gd name="connsiteX5" fmla="*/ 5023828 w 5227536"/>
              <a:gd name="connsiteY5" fmla="*/ 1222224 h 1222224"/>
              <a:gd name="connsiteX6" fmla="*/ 203708 w 5227536"/>
              <a:gd name="connsiteY6" fmla="*/ 1222224 h 1222224"/>
              <a:gd name="connsiteX7" fmla="*/ 0 w 5227536"/>
              <a:gd name="connsiteY7" fmla="*/ 1018516 h 1222224"/>
              <a:gd name="connsiteX8" fmla="*/ 0 w 5227536"/>
              <a:gd name="connsiteY8" fmla="*/ 203708 h 1222224"/>
              <a:gd name="connsiteX0" fmla="*/ 0 w 5227536"/>
              <a:gd name="connsiteY0" fmla="*/ 203708 h 1222224"/>
              <a:gd name="connsiteX1" fmla="*/ 203708 w 5227536"/>
              <a:gd name="connsiteY1" fmla="*/ 0 h 1222224"/>
              <a:gd name="connsiteX2" fmla="*/ 5023828 w 5227536"/>
              <a:gd name="connsiteY2" fmla="*/ 0 h 1222224"/>
              <a:gd name="connsiteX3" fmla="*/ 5227536 w 5227536"/>
              <a:gd name="connsiteY3" fmla="*/ 203708 h 1222224"/>
              <a:gd name="connsiteX4" fmla="*/ 5227536 w 5227536"/>
              <a:gd name="connsiteY4" fmla="*/ 1018516 h 1222224"/>
              <a:gd name="connsiteX5" fmla="*/ 5023828 w 5227536"/>
              <a:gd name="connsiteY5" fmla="*/ 1222224 h 1222224"/>
              <a:gd name="connsiteX6" fmla="*/ 203708 w 5227536"/>
              <a:gd name="connsiteY6" fmla="*/ 1222224 h 1222224"/>
              <a:gd name="connsiteX7" fmla="*/ 0 w 5227536"/>
              <a:gd name="connsiteY7" fmla="*/ 1018516 h 1222224"/>
              <a:gd name="connsiteX8" fmla="*/ 0 w 5227536"/>
              <a:gd name="connsiteY8" fmla="*/ 203708 h 1222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27536" h="1222224">
                <a:moveTo>
                  <a:pt x="0" y="203708"/>
                </a:moveTo>
                <a:cubicBezTo>
                  <a:pt x="0" y="91203"/>
                  <a:pt x="91203" y="0"/>
                  <a:pt x="203708" y="0"/>
                </a:cubicBezTo>
                <a:lnTo>
                  <a:pt x="5023828" y="0"/>
                </a:lnTo>
                <a:cubicBezTo>
                  <a:pt x="5136333" y="0"/>
                  <a:pt x="5227536" y="91203"/>
                  <a:pt x="5227536" y="203708"/>
                </a:cubicBezTo>
                <a:lnTo>
                  <a:pt x="5227536" y="1018516"/>
                </a:lnTo>
                <a:cubicBezTo>
                  <a:pt x="5227536" y="1131021"/>
                  <a:pt x="5136333" y="1222224"/>
                  <a:pt x="5023828" y="1222224"/>
                </a:cubicBezTo>
                <a:lnTo>
                  <a:pt x="203708" y="1222224"/>
                </a:lnTo>
                <a:cubicBezTo>
                  <a:pt x="91203" y="1222224"/>
                  <a:pt x="0" y="1131021"/>
                  <a:pt x="0" y="1018516"/>
                </a:cubicBezTo>
                <a:lnTo>
                  <a:pt x="0" y="203708"/>
                </a:lnTo>
                <a:close/>
              </a:path>
            </a:pathLst>
          </a:custGeom>
          <a:gradFill flip="none" rotWithShape="1">
            <a:gsLst>
              <a:gs pos="0">
                <a:srgbClr val="69138E">
                  <a:lumMod val="94000"/>
                  <a:lumOff val="6000"/>
                  <a:alpha val="0"/>
                </a:srgbClr>
              </a:gs>
              <a:gs pos="27000">
                <a:srgbClr val="7E1D9E">
                  <a:alpha val="61000"/>
                </a:srgbClr>
              </a:gs>
              <a:gs pos="65000">
                <a:srgbClr val="9D2FA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-9" y="6487943"/>
            <a:ext cx="121920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bg2">
                    <a:lumMod val="75000"/>
                  </a:schemeClr>
                </a:solidFill>
                <a:latin typeface="+mj-lt"/>
              </a:rPr>
              <a:t> ООО «РУСТЭК»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7"/>
          <a:srcRect l="-3872"/>
          <a:stretch/>
        </p:blipFill>
        <p:spPr>
          <a:xfrm>
            <a:off x="368300" y="28668"/>
            <a:ext cx="1231900" cy="1234075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24BFCF4-E4DF-4F43-8A91-E0DC1B092ED7}"/>
              </a:ext>
            </a:extLst>
          </p:cNvPr>
          <p:cNvSpPr/>
          <p:nvPr/>
        </p:nvSpPr>
        <p:spPr>
          <a:xfrm>
            <a:off x="1" y="3808497"/>
            <a:ext cx="121919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>
                <a:solidFill>
                  <a:schemeClr val="bg1"/>
                </a:solidFill>
                <a:latin typeface="+mj-lt"/>
              </a:rPr>
              <a:t>Семейство облачных продуктов</a:t>
            </a:r>
            <a:endParaRPr lang="ru-RU" sz="6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DBB5CB53-90D1-724A-BB5E-10C3CD312D3E}"/>
              </a:ext>
            </a:extLst>
          </p:cNvPr>
          <p:cNvSpPr/>
          <p:nvPr/>
        </p:nvSpPr>
        <p:spPr>
          <a:xfrm>
            <a:off x="0" y="2505278"/>
            <a:ext cx="1219199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200" dirty="0">
                <a:solidFill>
                  <a:schemeClr val="bg1"/>
                </a:solidFill>
                <a:latin typeface="Azonix" pitchFamily="50" charset="0"/>
              </a:rPr>
              <a:t>RUSTACK</a:t>
            </a:r>
          </a:p>
        </p:txBody>
      </p:sp>
    </p:spTree>
    <p:extLst>
      <p:ext uri="{BB962C8B-B14F-4D97-AF65-F5344CB8AC3E}">
        <p14:creationId xmlns:p14="http://schemas.microsoft.com/office/powerpoint/2010/main" val="692542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4" descr="http://www.tadviser.ru/images/thumb/b/b6/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/680px-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C7B604D9-6F55-9F42-BE54-DA1DF3BD69E9}"/>
              </a:ext>
            </a:extLst>
          </p:cNvPr>
          <p:cNvGrpSpPr/>
          <p:nvPr/>
        </p:nvGrpSpPr>
        <p:grpSpPr>
          <a:xfrm>
            <a:off x="-6623" y="0"/>
            <a:ext cx="313119" cy="6858000"/>
            <a:chOff x="-6623" y="0"/>
            <a:chExt cx="313119" cy="6858000"/>
          </a:xfrm>
        </p:grpSpPr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CB121828-F665-B54E-9DCE-1CEE88402D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0378" r="84564"/>
            <a:stretch/>
          </p:blipFill>
          <p:spPr>
            <a:xfrm>
              <a:off x="0" y="0"/>
              <a:ext cx="304801" cy="6858000"/>
            </a:xfrm>
            <a:prstGeom prst="rect">
              <a:avLst/>
            </a:prstGeom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33B6296A-7477-E04E-AE7C-0B2416A138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-3872"/>
            <a:stretch/>
          </p:blipFill>
          <p:spPr>
            <a:xfrm>
              <a:off x="-6623" y="5174"/>
              <a:ext cx="313119" cy="299626"/>
            </a:xfrm>
            <a:prstGeom prst="rect">
              <a:avLst/>
            </a:prstGeom>
          </p:spPr>
        </p:pic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272025D-4BA7-2842-B568-237C45B154F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337147" y="1703688"/>
            <a:ext cx="361950" cy="412750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F99AF473-5BB4-1F42-8756-3F923B6316F3}"/>
              </a:ext>
            </a:extLst>
          </p:cNvPr>
          <p:cNvSpPr/>
          <p:nvPr/>
        </p:nvSpPr>
        <p:spPr>
          <a:xfrm>
            <a:off x="304801" y="396602"/>
            <a:ext cx="118871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2400" b="1" dirty="0"/>
              <a:t>«РУСТЭК</a:t>
            </a:r>
            <a:r>
              <a:rPr lang="en-US" sz="2400" b="1" dirty="0"/>
              <a:t>.VDI</a:t>
            </a:r>
            <a:r>
              <a:rPr lang="ru-RU" sz="2400" b="1" dirty="0"/>
              <a:t>» - Преимущество для клиентов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7E2825AE-1EF5-F344-96DE-5FEC564FF219}"/>
              </a:ext>
            </a:extLst>
          </p:cNvPr>
          <p:cNvSpPr/>
          <p:nvPr/>
        </p:nvSpPr>
        <p:spPr>
          <a:xfrm>
            <a:off x="1770434" y="1703688"/>
            <a:ext cx="9970852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000" dirty="0">
                <a:latin typeface="Roboto" panose="02000000000000000000" pitchFamily="2" charset="0"/>
                <a:ea typeface="Roboto" panose="02000000000000000000" pitchFamily="2" charset="0"/>
              </a:rPr>
              <a:t>Поставка как в виде ПО, так и в составе российского ПАК</a:t>
            </a:r>
            <a:endParaRPr lang="en-US" sz="2000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000" dirty="0">
                <a:latin typeface="Roboto" panose="02000000000000000000" pitchFamily="2" charset="0"/>
                <a:ea typeface="Roboto" panose="02000000000000000000" pitchFamily="2" charset="0"/>
              </a:rPr>
              <a:t>Поддержка российских и зарубежных ОС (АльтЛинукс, Астра Линукс, РОСА, </a:t>
            </a: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</a:rPr>
              <a:t>Windows)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000" dirty="0">
                <a:latin typeface="Roboto" panose="02000000000000000000" pitchFamily="2" charset="0"/>
                <a:ea typeface="Roboto" panose="02000000000000000000" pitchFamily="2" charset="0"/>
              </a:rPr>
              <a:t>Поддержка всех режимов работы: терминальный, по требованию, персональный, доставка приложений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000" dirty="0">
                <a:latin typeface="Roboto" panose="02000000000000000000" pitchFamily="2" charset="0"/>
                <a:ea typeface="Roboto" panose="02000000000000000000" pitchFamily="2" charset="0"/>
              </a:rPr>
              <a:t>Возможность массового администрирования ВМ и виртуальных рабочих столов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000" dirty="0">
                <a:latin typeface="Roboto" panose="02000000000000000000" pitchFamily="2" charset="0"/>
                <a:ea typeface="Roboto" panose="02000000000000000000" pitchFamily="2" charset="0"/>
              </a:rPr>
              <a:t>Поддержка тонких клиентов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000" dirty="0">
                <a:latin typeface="Roboto" panose="02000000000000000000" pitchFamily="2" charset="0"/>
                <a:ea typeface="Roboto" panose="02000000000000000000" pitchFamily="2" charset="0"/>
              </a:rPr>
              <a:t>Полностью соответствует критериям импортозамещения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ru-RU" sz="20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3DEB70FE-26D6-0C40-AC94-890471B108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337147" y="2264973"/>
            <a:ext cx="361950" cy="41275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88E115CE-FB92-A143-8F09-484902D9242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327419" y="2912762"/>
            <a:ext cx="361950" cy="412750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BADCFCEC-CEE4-6D4D-BE67-6DA8CAC2AC2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327419" y="3710114"/>
            <a:ext cx="361950" cy="412750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BA9D477B-9F62-4B4A-A5F1-0E3E090BA3F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337147" y="4170933"/>
            <a:ext cx="361950" cy="412750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FB4C3156-086A-9444-8950-0AE378DCD54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327419" y="4628133"/>
            <a:ext cx="361950" cy="412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729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4" descr="http://www.tadviser.ru/images/thumb/b/b6/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/680px-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C7B604D9-6F55-9F42-BE54-DA1DF3BD69E9}"/>
              </a:ext>
            </a:extLst>
          </p:cNvPr>
          <p:cNvGrpSpPr/>
          <p:nvPr/>
        </p:nvGrpSpPr>
        <p:grpSpPr>
          <a:xfrm>
            <a:off x="-6623" y="0"/>
            <a:ext cx="313119" cy="6858000"/>
            <a:chOff x="-6623" y="0"/>
            <a:chExt cx="313119" cy="6858000"/>
          </a:xfrm>
        </p:grpSpPr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CB121828-F665-B54E-9DCE-1CEE88402D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0378" r="84564"/>
            <a:stretch/>
          </p:blipFill>
          <p:spPr>
            <a:xfrm>
              <a:off x="0" y="0"/>
              <a:ext cx="304801" cy="6858000"/>
            </a:xfrm>
            <a:prstGeom prst="rect">
              <a:avLst/>
            </a:prstGeom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33B6296A-7477-E04E-AE7C-0B2416A138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-3872"/>
            <a:stretch/>
          </p:blipFill>
          <p:spPr>
            <a:xfrm>
              <a:off x="-6623" y="5174"/>
              <a:ext cx="313119" cy="299626"/>
            </a:xfrm>
            <a:prstGeom prst="rect">
              <a:avLst/>
            </a:prstGeom>
          </p:spPr>
        </p:pic>
      </p:grp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EA2AC53-3B57-47F7-A1C5-09AE19F7A2B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4949" y="1233182"/>
            <a:ext cx="6048463" cy="4703015"/>
          </a:xfrm>
          <a:prstGeom prst="rect">
            <a:avLst/>
          </a:prstGeom>
        </p:spPr>
      </p:pic>
      <p:sp>
        <p:nvSpPr>
          <p:cNvPr id="10" name="Объект 2">
            <a:extLst>
              <a:ext uri="{FF2B5EF4-FFF2-40B4-BE49-F238E27FC236}">
                <a16:creationId xmlns:a16="http://schemas.microsoft.com/office/drawing/2014/main" id="{228F9D14-28C7-4490-A3EE-0FA9EFA8C261}"/>
              </a:ext>
            </a:extLst>
          </p:cNvPr>
          <p:cNvSpPr txBox="1">
            <a:spLocks/>
          </p:cNvSpPr>
          <p:nvPr/>
        </p:nvSpPr>
        <p:spPr>
          <a:xfrm>
            <a:off x="6627301" y="1317520"/>
            <a:ext cx="5276183" cy="422295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ru-RU" sz="1600" b="1" dirty="0"/>
              <a:t>Клиент </a:t>
            </a:r>
            <a:r>
              <a:rPr lang="ru-RU" sz="1600" dirty="0"/>
              <a:t>–</a:t>
            </a:r>
            <a:r>
              <a:rPr lang="ru-RU" sz="1600" b="1" dirty="0"/>
              <a:t> </a:t>
            </a:r>
            <a:r>
              <a:rPr lang="ru-RU" sz="1600" dirty="0"/>
              <a:t>обеспечивает подключение пользовательских устройств к виртуальному рабочему столу</a:t>
            </a:r>
          </a:p>
          <a:p>
            <a:pPr fontAlgn="auto">
              <a:spcAft>
                <a:spcPts val="0"/>
              </a:spcAft>
            </a:pPr>
            <a:endParaRPr lang="ru-RU" sz="1600" b="1" dirty="0"/>
          </a:p>
          <a:p>
            <a:pPr fontAlgn="auto">
              <a:spcAft>
                <a:spcPts val="0"/>
              </a:spcAft>
            </a:pPr>
            <a:r>
              <a:rPr lang="ru-RU" sz="1600" b="1" dirty="0"/>
              <a:t>Брокер подключений</a:t>
            </a:r>
            <a:r>
              <a:rPr lang="ru-RU" sz="1600" dirty="0"/>
              <a:t> – отвечает за авторизацию пользователя и предоставление доступных  ему ВРМ</a:t>
            </a:r>
          </a:p>
          <a:p>
            <a:pPr fontAlgn="auto">
              <a:spcAft>
                <a:spcPts val="0"/>
              </a:spcAft>
            </a:pPr>
            <a:endParaRPr lang="ru-RU" sz="1600" dirty="0"/>
          </a:p>
          <a:p>
            <a:pPr fontAlgn="auto">
              <a:spcAft>
                <a:spcPts val="0"/>
              </a:spcAft>
            </a:pPr>
            <a:r>
              <a:rPr lang="ru-RU" sz="1600" b="1" dirty="0"/>
              <a:t>Система балансировки нагрузки </a:t>
            </a:r>
            <a:r>
              <a:rPr lang="ru-RU" sz="1600" dirty="0"/>
              <a:t>– балансирует нагрузку на систему путем распределения сеансов конечных пользователей между хостам</a:t>
            </a:r>
          </a:p>
          <a:p>
            <a:pPr fontAlgn="auto">
              <a:spcAft>
                <a:spcPts val="0"/>
              </a:spcAft>
            </a:pPr>
            <a:endParaRPr lang="ru-RU" sz="1600" dirty="0"/>
          </a:p>
          <a:p>
            <a:pPr fontAlgn="auto">
              <a:spcAft>
                <a:spcPts val="0"/>
              </a:spcAft>
            </a:pPr>
            <a:r>
              <a:rPr lang="ru-RU" sz="1600" b="1" dirty="0"/>
              <a:t>Панель управления </a:t>
            </a:r>
            <a:r>
              <a:rPr lang="ru-RU" sz="1600" dirty="0"/>
              <a:t>–</a:t>
            </a:r>
            <a:r>
              <a:rPr lang="ru-RU" sz="1600" b="1" dirty="0"/>
              <a:t> </a:t>
            </a:r>
            <a:r>
              <a:rPr lang="ru-RU" sz="1600" dirty="0"/>
              <a:t>веб-ориентированная панель предоставляет администраторам инструменты управления платформой </a:t>
            </a:r>
            <a:r>
              <a:rPr lang="en-US" sz="1600" dirty="0"/>
              <a:t>VDI.</a:t>
            </a:r>
            <a:endParaRPr lang="ru-RU" sz="1600" dirty="0"/>
          </a:p>
          <a:p>
            <a:pPr fontAlgn="auto">
              <a:spcAft>
                <a:spcPts val="0"/>
              </a:spcAft>
            </a:pPr>
            <a:endParaRPr lang="ru-RU" sz="1600" dirty="0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81B77DA-48FE-E34E-9275-837BFA5ACC24}"/>
              </a:ext>
            </a:extLst>
          </p:cNvPr>
          <p:cNvSpPr/>
          <p:nvPr/>
        </p:nvSpPr>
        <p:spPr>
          <a:xfrm>
            <a:off x="304802" y="396602"/>
            <a:ext cx="118871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2400" b="1" dirty="0"/>
              <a:t>«РУСТЭК</a:t>
            </a:r>
            <a:r>
              <a:rPr lang="en-US" sz="2400" b="1" dirty="0"/>
              <a:t>.VDI</a:t>
            </a:r>
            <a:r>
              <a:rPr lang="ru-RU" sz="2400" b="1" dirty="0"/>
              <a:t>» - Архитектура</a:t>
            </a:r>
          </a:p>
        </p:txBody>
      </p:sp>
    </p:spTree>
    <p:extLst>
      <p:ext uri="{BB962C8B-B14F-4D97-AF65-F5344CB8AC3E}">
        <p14:creationId xmlns:p14="http://schemas.microsoft.com/office/powerpoint/2010/main" val="3062603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4" descr="http://www.tadviser.ru/images/thumb/b/b6/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/680px-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C7B604D9-6F55-9F42-BE54-DA1DF3BD69E9}"/>
              </a:ext>
            </a:extLst>
          </p:cNvPr>
          <p:cNvGrpSpPr/>
          <p:nvPr/>
        </p:nvGrpSpPr>
        <p:grpSpPr>
          <a:xfrm>
            <a:off x="-6623" y="0"/>
            <a:ext cx="313119" cy="6858000"/>
            <a:chOff x="-6623" y="0"/>
            <a:chExt cx="313119" cy="6858000"/>
          </a:xfrm>
        </p:grpSpPr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CB121828-F665-B54E-9DCE-1CEE88402D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0378" r="84564"/>
            <a:stretch/>
          </p:blipFill>
          <p:spPr>
            <a:xfrm>
              <a:off x="0" y="0"/>
              <a:ext cx="304801" cy="6858000"/>
            </a:xfrm>
            <a:prstGeom prst="rect">
              <a:avLst/>
            </a:prstGeom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33B6296A-7477-E04E-AE7C-0B2416A138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-3872"/>
            <a:stretch/>
          </p:blipFill>
          <p:spPr>
            <a:xfrm>
              <a:off x="-6623" y="5174"/>
              <a:ext cx="313119" cy="299626"/>
            </a:xfrm>
            <a:prstGeom prst="rect">
              <a:avLst/>
            </a:prstGeom>
          </p:spPr>
        </p:pic>
      </p:grp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EDDB3E9-A171-DE4F-8E81-AB29027DC27F}"/>
              </a:ext>
            </a:extLst>
          </p:cNvPr>
          <p:cNvSpPr/>
          <p:nvPr/>
        </p:nvSpPr>
        <p:spPr>
          <a:xfrm>
            <a:off x="304802" y="396602"/>
            <a:ext cx="118871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2400" b="1" dirty="0"/>
              <a:t>«РУСТЭК</a:t>
            </a:r>
            <a:r>
              <a:rPr lang="en-US" sz="2400" b="1" dirty="0"/>
              <a:t>.VDI</a:t>
            </a:r>
            <a:r>
              <a:rPr lang="ru-RU" sz="2400" b="1" dirty="0"/>
              <a:t>» - Лицензирование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1F029A0-9BB4-6345-B654-FC1AA118FA52}"/>
              </a:ext>
            </a:extLst>
          </p:cNvPr>
          <p:cNvSpPr/>
          <p:nvPr/>
        </p:nvSpPr>
        <p:spPr>
          <a:xfrm>
            <a:off x="7661498" y="1832957"/>
            <a:ext cx="3037050" cy="16311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  <a:spcAft>
                <a:spcPts val="800"/>
              </a:spcAft>
            </a:pPr>
            <a:r>
              <a:rPr lang="ru-RU" sz="2400" dirty="0">
                <a:ea typeface="Roboto" panose="02000000000000000000" pitchFamily="2" charset="0"/>
              </a:rPr>
              <a:t>Лицензирование</a:t>
            </a:r>
          </a:p>
          <a:p>
            <a:pPr>
              <a:lnSpc>
                <a:spcPct val="150000"/>
              </a:lnSpc>
              <a:spcAft>
                <a:spcPts val="800"/>
              </a:spcAft>
            </a:pPr>
            <a:r>
              <a:rPr lang="ru-RU" sz="1800" dirty="0">
                <a:ea typeface="Roboto" panose="02000000000000000000" pitchFamily="2" charset="0"/>
              </a:rPr>
              <a:t>1. По пользователям</a:t>
            </a:r>
          </a:p>
          <a:p>
            <a:pPr>
              <a:lnSpc>
                <a:spcPct val="150000"/>
              </a:lnSpc>
              <a:spcAft>
                <a:spcPts val="800"/>
              </a:spcAft>
            </a:pPr>
            <a:r>
              <a:rPr lang="ru-RU" sz="1800" dirty="0">
                <a:ea typeface="Roboto" panose="02000000000000000000" pitchFamily="2" charset="0"/>
              </a:rPr>
              <a:t>2. Конкурентные лицензии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A2B56692-8763-534D-9F91-BCB05AC88829}"/>
              </a:ext>
            </a:extLst>
          </p:cNvPr>
          <p:cNvSpPr/>
          <p:nvPr/>
        </p:nvSpPr>
        <p:spPr>
          <a:xfrm>
            <a:off x="534787" y="1832957"/>
            <a:ext cx="5713614" cy="2046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800"/>
              </a:spcAft>
            </a:pPr>
            <a:r>
              <a:rPr lang="ru-RU" sz="2400" dirty="0">
                <a:ea typeface="Roboto" panose="02000000000000000000" pitchFamily="2" charset="0"/>
              </a:rPr>
              <a:t>Варианты поставки</a:t>
            </a:r>
            <a:endParaRPr lang="en-US" sz="2400" dirty="0">
              <a:ea typeface="Roboto" panose="02000000000000000000" pitchFamily="2" charset="0"/>
            </a:endParaRPr>
          </a:p>
          <a:p>
            <a:pPr marL="457200" indent="-457200">
              <a:lnSpc>
                <a:spcPct val="150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ru-RU" sz="1800" dirty="0">
                <a:ea typeface="Roboto" panose="02000000000000000000" pitchFamily="2" charset="0"/>
              </a:rPr>
              <a:t>Лицензии ПО (не облагается НДС)</a:t>
            </a:r>
          </a:p>
          <a:p>
            <a:pPr marL="457200" indent="-457200">
              <a:lnSpc>
                <a:spcPct val="150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ru-RU" sz="1800" dirty="0">
                <a:ea typeface="Roboto" panose="02000000000000000000" pitchFamily="2" charset="0"/>
              </a:rPr>
              <a:t>Программно-аппаратный комплекс ПАК (оборудовании + лицензии). </a:t>
            </a:r>
          </a:p>
        </p:txBody>
      </p:sp>
    </p:spTree>
    <p:extLst>
      <p:ext uri="{BB962C8B-B14F-4D97-AF65-F5344CB8AC3E}">
        <p14:creationId xmlns:p14="http://schemas.microsoft.com/office/powerpoint/2010/main" val="339264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8" y="0"/>
            <a:ext cx="12192007" cy="6886668"/>
          </a:xfrm>
          <a:prstGeom prst="rect">
            <a:avLst/>
          </a:prstGeom>
        </p:spPr>
      </p:pic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4" descr="http://www.tadviser.ru/images/thumb/b/b6/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/680px-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Скругленный прямоугольник 10"/>
          <p:cNvSpPr/>
          <p:nvPr/>
        </p:nvSpPr>
        <p:spPr>
          <a:xfrm rot="10800000">
            <a:off x="1270035" y="2981146"/>
            <a:ext cx="9348859" cy="88547"/>
          </a:xfrm>
          <a:custGeom>
            <a:avLst/>
            <a:gdLst>
              <a:gd name="connsiteX0" fmla="*/ 0 w 5227536"/>
              <a:gd name="connsiteY0" fmla="*/ 203708 h 1222224"/>
              <a:gd name="connsiteX1" fmla="*/ 203708 w 5227536"/>
              <a:gd name="connsiteY1" fmla="*/ 0 h 1222224"/>
              <a:gd name="connsiteX2" fmla="*/ 5023828 w 5227536"/>
              <a:gd name="connsiteY2" fmla="*/ 0 h 1222224"/>
              <a:gd name="connsiteX3" fmla="*/ 5227536 w 5227536"/>
              <a:gd name="connsiteY3" fmla="*/ 203708 h 1222224"/>
              <a:gd name="connsiteX4" fmla="*/ 5227536 w 5227536"/>
              <a:gd name="connsiteY4" fmla="*/ 1018516 h 1222224"/>
              <a:gd name="connsiteX5" fmla="*/ 5023828 w 5227536"/>
              <a:gd name="connsiteY5" fmla="*/ 1222224 h 1222224"/>
              <a:gd name="connsiteX6" fmla="*/ 203708 w 5227536"/>
              <a:gd name="connsiteY6" fmla="*/ 1222224 h 1222224"/>
              <a:gd name="connsiteX7" fmla="*/ 0 w 5227536"/>
              <a:gd name="connsiteY7" fmla="*/ 1018516 h 1222224"/>
              <a:gd name="connsiteX8" fmla="*/ 0 w 5227536"/>
              <a:gd name="connsiteY8" fmla="*/ 203708 h 1222224"/>
              <a:gd name="connsiteX0" fmla="*/ 0 w 5227536"/>
              <a:gd name="connsiteY0" fmla="*/ 203708 h 1222224"/>
              <a:gd name="connsiteX1" fmla="*/ 203708 w 5227536"/>
              <a:gd name="connsiteY1" fmla="*/ 0 h 1222224"/>
              <a:gd name="connsiteX2" fmla="*/ 5023828 w 5227536"/>
              <a:gd name="connsiteY2" fmla="*/ 0 h 1222224"/>
              <a:gd name="connsiteX3" fmla="*/ 5227536 w 5227536"/>
              <a:gd name="connsiteY3" fmla="*/ 203708 h 1222224"/>
              <a:gd name="connsiteX4" fmla="*/ 5227536 w 5227536"/>
              <a:gd name="connsiteY4" fmla="*/ 1018516 h 1222224"/>
              <a:gd name="connsiteX5" fmla="*/ 5023828 w 5227536"/>
              <a:gd name="connsiteY5" fmla="*/ 1222224 h 1222224"/>
              <a:gd name="connsiteX6" fmla="*/ 203708 w 5227536"/>
              <a:gd name="connsiteY6" fmla="*/ 1222224 h 1222224"/>
              <a:gd name="connsiteX7" fmla="*/ 0 w 5227536"/>
              <a:gd name="connsiteY7" fmla="*/ 1018516 h 1222224"/>
              <a:gd name="connsiteX8" fmla="*/ 0 w 5227536"/>
              <a:gd name="connsiteY8" fmla="*/ 203708 h 1222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27536" h="1222224">
                <a:moveTo>
                  <a:pt x="0" y="203708"/>
                </a:moveTo>
                <a:cubicBezTo>
                  <a:pt x="0" y="91203"/>
                  <a:pt x="91203" y="0"/>
                  <a:pt x="203708" y="0"/>
                </a:cubicBezTo>
                <a:lnTo>
                  <a:pt x="5023828" y="0"/>
                </a:lnTo>
                <a:cubicBezTo>
                  <a:pt x="5136333" y="0"/>
                  <a:pt x="5227536" y="91203"/>
                  <a:pt x="5227536" y="203708"/>
                </a:cubicBezTo>
                <a:lnTo>
                  <a:pt x="5227536" y="1018516"/>
                </a:lnTo>
                <a:cubicBezTo>
                  <a:pt x="5227536" y="1131021"/>
                  <a:pt x="5136333" y="1222224"/>
                  <a:pt x="5023828" y="1222224"/>
                </a:cubicBezTo>
                <a:lnTo>
                  <a:pt x="203708" y="1222224"/>
                </a:lnTo>
                <a:cubicBezTo>
                  <a:pt x="91203" y="1222224"/>
                  <a:pt x="0" y="1131021"/>
                  <a:pt x="0" y="1018516"/>
                </a:cubicBezTo>
                <a:lnTo>
                  <a:pt x="0" y="203708"/>
                </a:lnTo>
                <a:close/>
              </a:path>
            </a:pathLst>
          </a:custGeom>
          <a:gradFill flip="none" rotWithShape="1">
            <a:gsLst>
              <a:gs pos="0">
                <a:srgbClr val="69138E">
                  <a:lumMod val="94000"/>
                  <a:lumOff val="6000"/>
                  <a:alpha val="0"/>
                </a:srgbClr>
              </a:gs>
              <a:gs pos="27000">
                <a:srgbClr val="7E1D9E">
                  <a:alpha val="61000"/>
                </a:srgbClr>
              </a:gs>
              <a:gs pos="65000">
                <a:srgbClr val="9D2FA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7"/>
          <a:srcRect l="-3872"/>
          <a:stretch/>
        </p:blipFill>
        <p:spPr>
          <a:xfrm>
            <a:off x="368300" y="28668"/>
            <a:ext cx="1231900" cy="1234075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24BFCF4-E4DF-4F43-8A91-E0DC1B092ED7}"/>
              </a:ext>
            </a:extLst>
          </p:cNvPr>
          <p:cNvSpPr/>
          <p:nvPr/>
        </p:nvSpPr>
        <p:spPr>
          <a:xfrm>
            <a:off x="1" y="3049738"/>
            <a:ext cx="1219199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solidFill>
                  <a:schemeClr val="bg1"/>
                </a:solidFill>
              </a:rPr>
              <a:t>Программный комплекс управления и оркестрации платформ виртуализации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DBB5CB53-90D1-724A-BB5E-10C3CD312D3E}"/>
              </a:ext>
            </a:extLst>
          </p:cNvPr>
          <p:cNvSpPr/>
          <p:nvPr/>
        </p:nvSpPr>
        <p:spPr>
          <a:xfrm>
            <a:off x="0" y="1746519"/>
            <a:ext cx="1219199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>
                <a:solidFill>
                  <a:schemeClr val="bg1"/>
                </a:solidFill>
                <a:latin typeface="Azonix" pitchFamily="50" charset="0"/>
              </a:rPr>
              <a:t>«РУСТЭК-ЕСУ»</a:t>
            </a:r>
            <a:endParaRPr lang="en-US" sz="7200" dirty="0">
              <a:solidFill>
                <a:schemeClr val="bg1"/>
              </a:solidFill>
              <a:latin typeface="Azonix" pitchFamily="50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B36A24D7-BD47-9845-8C4C-4C3E28456BD4}"/>
              </a:ext>
            </a:extLst>
          </p:cNvPr>
          <p:cNvSpPr/>
          <p:nvPr/>
        </p:nvSpPr>
        <p:spPr>
          <a:xfrm>
            <a:off x="4631672" y="4770605"/>
            <a:ext cx="372261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6D6E70"/>
                </a:solidFill>
                <a:latin typeface="+mj-lt"/>
              </a:rPr>
              <a:t>Запись в реестре №</a:t>
            </a:r>
            <a:r>
              <a:rPr lang="ru-RU" sz="2000" dirty="0">
                <a:solidFill>
                  <a:srgbClr val="6D6E70"/>
                </a:solidFill>
              </a:rPr>
              <a:t> 6672</a:t>
            </a:r>
            <a:endParaRPr lang="ru-RU" sz="2000" dirty="0">
              <a:solidFill>
                <a:srgbClr val="6D6E70"/>
              </a:solidFill>
              <a:latin typeface="+mj-lt"/>
            </a:endParaRPr>
          </a:p>
        </p:txBody>
      </p:sp>
      <p:pic>
        <p:nvPicPr>
          <p:cNvPr id="12" name="Picture 7">
            <a:extLst>
              <a:ext uri="{FF2B5EF4-FFF2-40B4-BE49-F238E27FC236}">
                <a16:creationId xmlns:a16="http://schemas.microsoft.com/office/drawing/2014/main" id="{7FC13209-AF3D-0E46-99C3-886E8264E6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6315" y="4525092"/>
            <a:ext cx="1526573" cy="954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7157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4" descr="http://www.tadviser.ru/images/thumb/b/b6/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/680px-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304801" y="1498139"/>
            <a:ext cx="11887199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latin typeface="+mn-lt"/>
              </a:rPr>
              <a:t>Программный комплекс </a:t>
            </a:r>
          </a:p>
          <a:p>
            <a:pPr algn="ctr"/>
            <a:r>
              <a:rPr lang="ru-RU" sz="2800" b="1" dirty="0">
                <a:latin typeface="+mn-lt"/>
              </a:rPr>
              <a:t>«РУСТЭК-Единая система управления»</a:t>
            </a:r>
          </a:p>
          <a:p>
            <a:pPr algn="ctr"/>
            <a:endParaRPr lang="ru-RU" sz="2800" dirty="0">
              <a:latin typeface="+mn-lt"/>
            </a:endParaRPr>
          </a:p>
          <a:p>
            <a:pPr algn="ctr"/>
            <a:r>
              <a:rPr lang="ru-RU" sz="2800" dirty="0">
                <a:latin typeface="+mn-lt"/>
              </a:rPr>
              <a:t>– это набор IaaS, PaaS и SaaS сервисов, позволяющий быстро создавать новые продукты, услуги и приложения </a:t>
            </a:r>
          </a:p>
          <a:p>
            <a:pPr algn="ctr"/>
            <a:r>
              <a:rPr lang="ru-RU" sz="2800" b="1" dirty="0">
                <a:latin typeface="+mn-lt"/>
              </a:rPr>
              <a:t>для создания лучшего клиентского опыта</a:t>
            </a: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C7B604D9-6F55-9F42-BE54-DA1DF3BD69E9}"/>
              </a:ext>
            </a:extLst>
          </p:cNvPr>
          <p:cNvGrpSpPr/>
          <p:nvPr/>
        </p:nvGrpSpPr>
        <p:grpSpPr>
          <a:xfrm>
            <a:off x="-6623" y="0"/>
            <a:ext cx="313119" cy="6858000"/>
            <a:chOff x="-6623" y="0"/>
            <a:chExt cx="313119" cy="6858000"/>
          </a:xfrm>
        </p:grpSpPr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CB121828-F665-B54E-9DCE-1CEE88402D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0378" r="84564"/>
            <a:stretch/>
          </p:blipFill>
          <p:spPr>
            <a:xfrm>
              <a:off x="0" y="0"/>
              <a:ext cx="304801" cy="6858000"/>
            </a:xfrm>
            <a:prstGeom prst="rect">
              <a:avLst/>
            </a:prstGeom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33B6296A-7477-E04E-AE7C-0B2416A138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-3872"/>
            <a:stretch/>
          </p:blipFill>
          <p:spPr>
            <a:xfrm>
              <a:off x="-6623" y="5174"/>
              <a:ext cx="313119" cy="2996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59520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4" descr="http://www.tadviser.ru/images/thumb/b/b6/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/680px-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2638" y="6195137"/>
            <a:ext cx="468172" cy="450346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51648" y="6216615"/>
            <a:ext cx="604584" cy="45570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85022" y="6305753"/>
            <a:ext cx="1035898" cy="339730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19375" y="6196898"/>
            <a:ext cx="648340" cy="363890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09980" y="6105181"/>
            <a:ext cx="1214116" cy="61262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398379" y="6201815"/>
            <a:ext cx="638351" cy="500668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823739" y="6169063"/>
            <a:ext cx="625623" cy="61311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0D41FB3-D726-7143-9A48-541685FF07EA}"/>
              </a:ext>
            </a:extLst>
          </p:cNvPr>
          <p:cNvSpPr txBox="1"/>
          <p:nvPr/>
        </p:nvSpPr>
        <p:spPr>
          <a:xfrm>
            <a:off x="3790453" y="5800858"/>
            <a:ext cx="4682175" cy="36933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800" spc="3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интеграция и совместимость</a:t>
            </a: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742638" y="6028951"/>
            <a:ext cx="2976736" cy="0"/>
          </a:xfrm>
          <a:prstGeom prst="line">
            <a:avLst/>
          </a:prstGeom>
          <a:ln>
            <a:solidFill>
              <a:srgbClr val="2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8505173" y="6028951"/>
            <a:ext cx="2976736" cy="0"/>
          </a:xfrm>
          <a:prstGeom prst="line">
            <a:avLst/>
          </a:prstGeom>
          <a:ln>
            <a:solidFill>
              <a:srgbClr val="2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E6305E36-D5C1-644C-A2C9-B64B75852D8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012905" y="1139855"/>
            <a:ext cx="6527571" cy="3372300"/>
          </a:xfrm>
          <a:prstGeom prst="rect">
            <a:avLst/>
          </a:prstGeom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D09654CB-0005-5F46-AC4A-36E08D4290D7}"/>
              </a:ext>
            </a:extLst>
          </p:cNvPr>
          <p:cNvSpPr/>
          <p:nvPr/>
        </p:nvSpPr>
        <p:spPr>
          <a:xfrm>
            <a:off x="311425" y="3291"/>
            <a:ext cx="118805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latin typeface="+mn-lt"/>
              </a:rPr>
              <a:t>Цифровая сервисная платформа на базе «РУСТЭК-ЕСУ»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A5E1817-9342-8947-B41E-073B1769B642}"/>
              </a:ext>
            </a:extLst>
          </p:cNvPr>
          <p:cNvSpPr/>
          <p:nvPr/>
        </p:nvSpPr>
        <p:spPr>
          <a:xfrm>
            <a:off x="5464046" y="4533018"/>
            <a:ext cx="1941226" cy="1989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VMware</a:t>
            </a:r>
            <a:endParaRPr lang="ru-RU" sz="1200" dirty="0"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9479BC6D-AEA1-DC42-A384-FC2A0AD5C99F}"/>
              </a:ext>
            </a:extLst>
          </p:cNvPr>
          <p:cNvSpPr/>
          <p:nvPr/>
        </p:nvSpPr>
        <p:spPr>
          <a:xfrm>
            <a:off x="7465233" y="4533826"/>
            <a:ext cx="2053652" cy="1989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KVM</a:t>
            </a:r>
            <a:endParaRPr lang="ru-RU" sz="1200" dirty="0"/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D191C7AA-BE0F-DF45-AEB7-7FBF4F64B814}"/>
              </a:ext>
            </a:extLst>
          </p:cNvPr>
          <p:cNvSpPr/>
          <p:nvPr/>
        </p:nvSpPr>
        <p:spPr>
          <a:xfrm>
            <a:off x="9574700" y="4532233"/>
            <a:ext cx="1965775" cy="1989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РУСТЭК</a:t>
            </a: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3AF4341B-AC3B-1247-88D9-901CC33E25B3}"/>
              </a:ext>
            </a:extLst>
          </p:cNvPr>
          <p:cNvGrpSpPr/>
          <p:nvPr/>
        </p:nvGrpSpPr>
        <p:grpSpPr>
          <a:xfrm>
            <a:off x="-6623" y="0"/>
            <a:ext cx="313119" cy="6858000"/>
            <a:chOff x="-6623" y="0"/>
            <a:chExt cx="313119" cy="6858000"/>
          </a:xfrm>
        </p:grpSpPr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E81342C9-C877-3848-ABD5-02D3689D31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l="10378" r="84564"/>
            <a:stretch/>
          </p:blipFill>
          <p:spPr>
            <a:xfrm>
              <a:off x="0" y="0"/>
              <a:ext cx="304801" cy="6858000"/>
            </a:xfrm>
            <a:prstGeom prst="rect">
              <a:avLst/>
            </a:prstGeom>
          </p:spPr>
        </p:pic>
        <p:pic>
          <p:nvPicPr>
            <p:cNvPr id="29" name="Рисунок 28">
              <a:extLst>
                <a:ext uri="{FF2B5EF4-FFF2-40B4-BE49-F238E27FC236}">
                  <a16:creationId xmlns:a16="http://schemas.microsoft.com/office/drawing/2014/main" id="{40C3670B-7E8B-8041-B8E5-9B0A5915E6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/>
            <a:srcRect l="-3872"/>
            <a:stretch/>
          </p:blipFill>
          <p:spPr>
            <a:xfrm>
              <a:off x="-6623" y="5174"/>
              <a:ext cx="313119" cy="299626"/>
            </a:xfrm>
            <a:prstGeom prst="rect">
              <a:avLst/>
            </a:prstGeom>
          </p:spPr>
        </p:pic>
      </p:grp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EBC5C328-822E-224A-988D-6025613482E5}"/>
              </a:ext>
            </a:extLst>
          </p:cNvPr>
          <p:cNvSpPr/>
          <p:nvPr/>
        </p:nvSpPr>
        <p:spPr>
          <a:xfrm>
            <a:off x="651523" y="1139855"/>
            <a:ext cx="4000687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Bef>
                <a:spcPts val="400"/>
              </a:spcBef>
              <a:spcAft>
                <a:spcPts val="400"/>
              </a:spcAft>
              <a:buClr>
                <a:srgbClr val="2E4050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Times" pitchFamily="2" charset="0"/>
              </a:rPr>
              <a:t>Единое цифровое облачное пространство для корпорации любого уровня</a:t>
            </a:r>
          </a:p>
          <a:p>
            <a:pPr marL="171450" indent="-171450">
              <a:spcBef>
                <a:spcPts val="400"/>
              </a:spcBef>
              <a:spcAft>
                <a:spcPts val="400"/>
              </a:spcAft>
              <a:buClr>
                <a:srgbClr val="2E4050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Times" pitchFamily="2" charset="0"/>
              </a:rPr>
              <a:t>Централизованное управление несколькими частными облаками</a:t>
            </a:r>
          </a:p>
          <a:p>
            <a:pPr marL="171450" indent="-171450">
              <a:spcBef>
                <a:spcPts val="400"/>
              </a:spcBef>
              <a:spcAft>
                <a:spcPts val="400"/>
              </a:spcAft>
              <a:buClr>
                <a:srgbClr val="2E4050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Times" pitchFamily="2" charset="0"/>
              </a:rPr>
              <a:t>Предоставление и учёт внутренних ИТ-сервисов</a:t>
            </a:r>
          </a:p>
          <a:p>
            <a:pPr marL="171450" indent="-171450">
              <a:spcBef>
                <a:spcPts val="400"/>
              </a:spcBef>
              <a:spcAft>
                <a:spcPts val="400"/>
              </a:spcAft>
              <a:buClr>
                <a:srgbClr val="2E4050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Times" pitchFamily="2" charset="0"/>
              </a:rPr>
              <a:t>Эффективное управление различными гипервизорами </a:t>
            </a:r>
            <a:r>
              <a:rPr lang="en" sz="1200" b="1" dirty="0">
                <a:latin typeface="Times" pitchFamily="2" charset="0"/>
              </a:rPr>
              <a:t>KVM (OpenStack, </a:t>
            </a:r>
            <a:r>
              <a:rPr lang="ru-RU" sz="1200" b="1" dirty="0">
                <a:latin typeface="Times" pitchFamily="2" charset="0"/>
              </a:rPr>
              <a:t>РУСТЭК), </a:t>
            </a:r>
            <a:r>
              <a:rPr lang="en" sz="1200" b="1" dirty="0">
                <a:latin typeface="Times" pitchFamily="2" charset="0"/>
              </a:rPr>
              <a:t>ESXi (VMware)</a:t>
            </a:r>
            <a:endParaRPr lang="ru-RU" sz="1200" b="1" dirty="0">
              <a:latin typeface="Times" pitchFamily="2" charset="0"/>
            </a:endParaRPr>
          </a:p>
          <a:p>
            <a:pPr marL="171450" indent="-171450">
              <a:spcBef>
                <a:spcPts val="400"/>
              </a:spcBef>
              <a:spcAft>
                <a:spcPts val="400"/>
              </a:spcAft>
              <a:buClr>
                <a:srgbClr val="2E4050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Times" pitchFamily="2" charset="0"/>
              </a:rPr>
              <a:t>Внедрение облачной инфраструктуры с личным кабинетом самообслуживания</a:t>
            </a:r>
          </a:p>
          <a:p>
            <a:pPr marL="171450" indent="-171450">
              <a:spcBef>
                <a:spcPts val="400"/>
              </a:spcBef>
              <a:spcAft>
                <a:spcPts val="400"/>
              </a:spcAft>
              <a:buClr>
                <a:srgbClr val="2E4050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Times" pitchFamily="2" charset="0"/>
              </a:rPr>
              <a:t>Реализация концепции </a:t>
            </a:r>
            <a:r>
              <a:rPr lang="en" sz="1200" b="1" dirty="0">
                <a:latin typeface="Times" pitchFamily="2" charset="0"/>
              </a:rPr>
              <a:t>Community cloud</a:t>
            </a:r>
            <a:endParaRPr lang="ru-RU" sz="1200" b="1" dirty="0">
              <a:latin typeface="Times" pitchFamily="2" charset="0"/>
            </a:endParaRPr>
          </a:p>
          <a:p>
            <a:pPr marL="171450" indent="-171450">
              <a:spcBef>
                <a:spcPts val="400"/>
              </a:spcBef>
              <a:spcAft>
                <a:spcPts val="400"/>
              </a:spcAft>
              <a:buClr>
                <a:srgbClr val="2E4050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Times" pitchFamily="2" charset="0"/>
              </a:rPr>
              <a:t>Биллинг ресурсов и сервисов</a:t>
            </a:r>
          </a:p>
          <a:p>
            <a:pPr marL="171450" indent="-171450">
              <a:spcBef>
                <a:spcPts val="400"/>
              </a:spcBef>
              <a:spcAft>
                <a:spcPts val="400"/>
              </a:spcAft>
              <a:buClr>
                <a:srgbClr val="2E4050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Times" pitchFamily="2" charset="0"/>
              </a:rPr>
              <a:t>Снижение затрат на администрирование</a:t>
            </a:r>
          </a:p>
          <a:p>
            <a:pPr marL="171450" indent="-171450">
              <a:spcBef>
                <a:spcPts val="400"/>
              </a:spcBef>
              <a:spcAft>
                <a:spcPts val="400"/>
              </a:spcAft>
              <a:buClr>
                <a:srgbClr val="2E4050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Times" pitchFamily="2" charset="0"/>
              </a:rPr>
              <a:t>Прогнозирование потребления и аналитика</a:t>
            </a:r>
          </a:p>
          <a:p>
            <a:pPr marL="171450" indent="-171450">
              <a:spcBef>
                <a:spcPts val="400"/>
              </a:spcBef>
              <a:spcAft>
                <a:spcPts val="400"/>
              </a:spcAft>
              <a:buClr>
                <a:srgbClr val="2E4050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200" b="1" dirty="0">
                <a:latin typeface="Times" pitchFamily="2" charset="0"/>
              </a:rPr>
              <a:t>Легкая адаптация к требованиям бизнеса заказчика</a:t>
            </a:r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id="{F7B1DD2E-D920-E242-ACC9-0E917E1739F9}"/>
              </a:ext>
            </a:extLst>
          </p:cNvPr>
          <p:cNvSpPr/>
          <p:nvPr/>
        </p:nvSpPr>
        <p:spPr>
          <a:xfrm>
            <a:off x="5464046" y="4771821"/>
            <a:ext cx="1906509" cy="237708"/>
          </a:xfrm>
          <a:prstGeom prst="roundRect">
            <a:avLst/>
          </a:prstGeom>
          <a:solidFill>
            <a:schemeClr val="accent5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/>
              <a:t>Вычислительные ресурсы</a:t>
            </a:r>
          </a:p>
        </p:txBody>
      </p:sp>
      <p:sp>
        <p:nvSpPr>
          <p:cNvPr id="31" name="Скругленный прямоугольник 30">
            <a:extLst>
              <a:ext uri="{FF2B5EF4-FFF2-40B4-BE49-F238E27FC236}">
                <a16:creationId xmlns:a16="http://schemas.microsoft.com/office/drawing/2014/main" id="{FF4B476B-D4D2-E542-9411-226BA602077A}"/>
              </a:ext>
            </a:extLst>
          </p:cNvPr>
          <p:cNvSpPr/>
          <p:nvPr/>
        </p:nvSpPr>
        <p:spPr>
          <a:xfrm>
            <a:off x="7465233" y="4771821"/>
            <a:ext cx="2044767" cy="237708"/>
          </a:xfrm>
          <a:prstGeom prst="roundRect">
            <a:avLst/>
          </a:prstGeom>
          <a:solidFill>
            <a:schemeClr val="accent5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/>
              <a:t>Системы хранения данных</a:t>
            </a:r>
          </a:p>
        </p:txBody>
      </p:sp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id="{747CBFD6-7912-AF42-935A-75586E71A1EE}"/>
              </a:ext>
            </a:extLst>
          </p:cNvPr>
          <p:cNvSpPr/>
          <p:nvPr/>
        </p:nvSpPr>
        <p:spPr>
          <a:xfrm>
            <a:off x="9563753" y="4771821"/>
            <a:ext cx="1987668" cy="237708"/>
          </a:xfrm>
          <a:prstGeom prst="roundRect">
            <a:avLst/>
          </a:prstGeom>
          <a:solidFill>
            <a:schemeClr val="accent5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/>
              <a:t>Сетевое оборудование</a:t>
            </a:r>
          </a:p>
        </p:txBody>
      </p:sp>
    </p:spTree>
    <p:extLst>
      <p:ext uri="{BB962C8B-B14F-4D97-AF65-F5344CB8AC3E}">
        <p14:creationId xmlns:p14="http://schemas.microsoft.com/office/powerpoint/2010/main" val="391409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4" descr="http://www.tadviser.ru/images/thumb/b/b6/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/680px-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14ADFC7F-35FE-BA40-9A96-862ED6147972}"/>
              </a:ext>
            </a:extLst>
          </p:cNvPr>
          <p:cNvGrpSpPr/>
          <p:nvPr/>
        </p:nvGrpSpPr>
        <p:grpSpPr>
          <a:xfrm>
            <a:off x="-6623" y="0"/>
            <a:ext cx="313119" cy="6858000"/>
            <a:chOff x="-6623" y="0"/>
            <a:chExt cx="313119" cy="6858000"/>
          </a:xfrm>
        </p:grpSpPr>
        <p:pic>
          <p:nvPicPr>
            <p:cNvPr id="18" name="Рисунок 17"/>
            <p:cNvPicPr>
              <a:picLocks noChangeAspect="1"/>
            </p:cNvPicPr>
            <p:nvPr/>
          </p:nvPicPr>
          <p:blipFill rotWithShape="1">
            <a:blip r:embed="rId7"/>
            <a:srcRect l="10378" r="84564"/>
            <a:stretch/>
          </p:blipFill>
          <p:spPr>
            <a:xfrm>
              <a:off x="0" y="0"/>
              <a:ext cx="304801" cy="6858000"/>
            </a:xfrm>
            <a:prstGeom prst="rect">
              <a:avLst/>
            </a:prstGeom>
          </p:spPr>
        </p:pic>
        <p:pic>
          <p:nvPicPr>
            <p:cNvPr id="19" name="Рисунок 18"/>
            <p:cNvPicPr>
              <a:picLocks noChangeAspect="1"/>
            </p:cNvPicPr>
            <p:nvPr/>
          </p:nvPicPr>
          <p:blipFill rotWithShape="1">
            <a:blip r:embed="rId8"/>
            <a:srcRect l="-3872"/>
            <a:stretch/>
          </p:blipFill>
          <p:spPr>
            <a:xfrm>
              <a:off x="-6623" y="5174"/>
              <a:ext cx="313119" cy="299626"/>
            </a:xfrm>
            <a:prstGeom prst="rect">
              <a:avLst/>
            </a:prstGeom>
          </p:spPr>
        </p:pic>
      </p:grp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21E2F268-879D-9643-867C-14B80858206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73270" y="866519"/>
            <a:ext cx="6054600" cy="2755985"/>
          </a:xfrm>
          <a:prstGeom prst="rect">
            <a:avLst/>
          </a:prstGeom>
          <a:ln w="12700">
            <a:solidFill>
              <a:schemeClr val="bg1">
                <a:lumMod val="50000"/>
              </a:schemeClr>
            </a:solidFill>
          </a:ln>
        </p:spPr>
      </p:pic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B981C9D4-6A3B-2A4D-8899-C55D440B9AAC}"/>
              </a:ext>
            </a:extLst>
          </p:cNvPr>
          <p:cNvSpPr/>
          <p:nvPr/>
        </p:nvSpPr>
        <p:spPr>
          <a:xfrm>
            <a:off x="-73217" y="4887626"/>
            <a:ext cx="329600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" pitchFamily="2" charset="0"/>
              </a:rPr>
              <a:t>Готовые шаблоны / каталог 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" pitchFamily="2" charset="0"/>
              </a:rPr>
              <a:t>IaaS/PaaS </a:t>
            </a:r>
            <a:r>
              <a:rPr lang="ru-RU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" pitchFamily="2" charset="0"/>
              </a:rPr>
              <a:t>сервисов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B26AD18D-E128-3E41-AF30-8137DB79DAB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844770" y="3962512"/>
            <a:ext cx="6176658" cy="284677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FE5DA3CD-F1FA-794B-98E1-B9C0F81FA5D3}"/>
              </a:ext>
            </a:extLst>
          </p:cNvPr>
          <p:cNvSpPr/>
          <p:nvPr/>
        </p:nvSpPr>
        <p:spPr>
          <a:xfrm>
            <a:off x="149936" y="1647209"/>
            <a:ext cx="329600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" pitchFamily="2" charset="0"/>
              </a:rPr>
              <a:t>Личный кабинет пользователя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1D025EF7-11A6-784E-A950-A95A4B10E359}"/>
              </a:ext>
            </a:extLst>
          </p:cNvPr>
          <p:cNvSpPr/>
          <p:nvPr/>
        </p:nvSpPr>
        <p:spPr>
          <a:xfrm>
            <a:off x="311425" y="3291"/>
            <a:ext cx="118805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latin typeface="+mn-lt"/>
              </a:rPr>
              <a:t>Интерфейс «РУСТЭК-ЕСУ»</a:t>
            </a:r>
          </a:p>
        </p:txBody>
      </p:sp>
    </p:spTree>
    <p:extLst>
      <p:ext uri="{BB962C8B-B14F-4D97-AF65-F5344CB8AC3E}">
        <p14:creationId xmlns:p14="http://schemas.microsoft.com/office/powerpoint/2010/main" val="1419820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5553" y="-1256"/>
            <a:ext cx="2228639" cy="6859255"/>
          </a:xfrm>
          <a:prstGeom prst="rect">
            <a:avLst/>
          </a:prstGeom>
        </p:spPr>
      </p:pic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4" descr="http://www.tadviser.ru/images/thumb/b/b6/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/680px-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CD540D37-2D54-40A3-A974-F3077F25B034}"/>
              </a:ext>
            </a:extLst>
          </p:cNvPr>
          <p:cNvGrpSpPr/>
          <p:nvPr/>
        </p:nvGrpSpPr>
        <p:grpSpPr>
          <a:xfrm>
            <a:off x="7491608" y="-18203"/>
            <a:ext cx="4013350" cy="4116247"/>
            <a:chOff x="7196333" y="-18203"/>
            <a:chExt cx="4013350" cy="4116247"/>
          </a:xfrm>
        </p:grpSpPr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A38CCE52-09BC-4CB7-881D-B4BD8613D7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393155" y="-1255"/>
              <a:ext cx="768974" cy="1945855"/>
            </a:xfrm>
            <a:custGeom>
              <a:avLst/>
              <a:gdLst>
                <a:gd name="T0" fmla="*/ 269 w 539"/>
                <a:gd name="T1" fmla="*/ 458 h 1362"/>
                <a:gd name="T2" fmla="*/ 328 w 539"/>
                <a:gd name="T3" fmla="*/ 519 h 1362"/>
                <a:gd name="T4" fmla="*/ 377 w 539"/>
                <a:gd name="T5" fmla="*/ 550 h 1362"/>
                <a:gd name="T6" fmla="*/ 170 w 539"/>
                <a:gd name="T7" fmla="*/ 532 h 1362"/>
                <a:gd name="T8" fmla="*/ 377 w 539"/>
                <a:gd name="T9" fmla="*/ 585 h 1362"/>
                <a:gd name="T10" fmla="*/ 174 w 539"/>
                <a:gd name="T11" fmla="*/ 574 h 1362"/>
                <a:gd name="T12" fmla="*/ 367 w 539"/>
                <a:gd name="T13" fmla="*/ 610 h 1362"/>
                <a:gd name="T14" fmla="*/ 371 w 539"/>
                <a:gd name="T15" fmla="*/ 651 h 1362"/>
                <a:gd name="T16" fmla="*/ 395 w 539"/>
                <a:gd name="T17" fmla="*/ 759 h 1362"/>
                <a:gd name="T18" fmla="*/ 534 w 539"/>
                <a:gd name="T19" fmla="*/ 1108 h 1362"/>
                <a:gd name="T20" fmla="*/ 138 w 539"/>
                <a:gd name="T21" fmla="*/ 1325 h 1362"/>
                <a:gd name="T22" fmla="*/ 60 w 539"/>
                <a:gd name="T23" fmla="*/ 954 h 1362"/>
                <a:gd name="T24" fmla="*/ 146 w 539"/>
                <a:gd name="T25" fmla="*/ 741 h 1362"/>
                <a:gd name="T26" fmla="*/ 189 w 539"/>
                <a:gd name="T27" fmla="*/ 635 h 1362"/>
                <a:gd name="T28" fmla="*/ 182 w 539"/>
                <a:gd name="T29" fmla="*/ 495 h 1362"/>
                <a:gd name="T30" fmla="*/ 278 w 539"/>
                <a:gd name="T31" fmla="*/ 0 h 1362"/>
                <a:gd name="T32" fmla="*/ 135 w 539"/>
                <a:gd name="T33" fmla="*/ 901 h 1362"/>
                <a:gd name="T34" fmla="*/ 184 w 539"/>
                <a:gd name="T35" fmla="*/ 1288 h 1362"/>
                <a:gd name="T36" fmla="*/ 352 w 539"/>
                <a:gd name="T37" fmla="*/ 779 h 1362"/>
                <a:gd name="T38" fmla="*/ 386 w 539"/>
                <a:gd name="T39" fmla="*/ 993 h 1362"/>
                <a:gd name="T40" fmla="*/ 278 w 539"/>
                <a:gd name="T41" fmla="*/ 987 h 1362"/>
                <a:gd name="T42" fmla="*/ 240 w 539"/>
                <a:gd name="T43" fmla="*/ 1030 h 1362"/>
                <a:gd name="T44" fmla="*/ 200 w 539"/>
                <a:gd name="T45" fmla="*/ 980 h 1362"/>
                <a:gd name="T46" fmla="*/ 181 w 539"/>
                <a:gd name="T47" fmla="*/ 961 h 1362"/>
                <a:gd name="T48" fmla="*/ 361 w 539"/>
                <a:gd name="T49" fmla="*/ 759 h 1362"/>
                <a:gd name="T50" fmla="*/ 340 w 539"/>
                <a:gd name="T51" fmla="*/ 1310 h 1362"/>
                <a:gd name="T52" fmla="*/ 505 w 539"/>
                <a:gd name="T53" fmla="*/ 1027 h 1362"/>
                <a:gd name="T54" fmla="*/ 260 w 539"/>
                <a:gd name="T55" fmla="*/ 717 h 1362"/>
                <a:gd name="T56" fmla="*/ 309 w 539"/>
                <a:gd name="T57" fmla="*/ 962 h 1362"/>
                <a:gd name="T58" fmla="*/ 211 w 539"/>
                <a:gd name="T59" fmla="*/ 680 h 1362"/>
                <a:gd name="T60" fmla="*/ 185 w 539"/>
                <a:gd name="T61" fmla="*/ 691 h 1362"/>
                <a:gd name="T62" fmla="*/ 162 w 539"/>
                <a:gd name="T63" fmla="*/ 725 h 1362"/>
                <a:gd name="T64" fmla="*/ 168 w 539"/>
                <a:gd name="T65" fmla="*/ 759 h 1362"/>
                <a:gd name="T66" fmla="*/ 200 w 539"/>
                <a:gd name="T67" fmla="*/ 757 h 1362"/>
                <a:gd name="T68" fmla="*/ 245 w 539"/>
                <a:gd name="T69" fmla="*/ 678 h 1362"/>
                <a:gd name="T70" fmla="*/ 229 w 539"/>
                <a:gd name="T71" fmla="*/ 1315 h 1362"/>
                <a:gd name="T72" fmla="*/ 418 w 539"/>
                <a:gd name="T73" fmla="*/ 931 h 1362"/>
                <a:gd name="T74" fmla="*/ 185 w 539"/>
                <a:gd name="T75" fmla="*/ 1297 h 1362"/>
                <a:gd name="T76" fmla="*/ 18 w 539"/>
                <a:gd name="T77" fmla="*/ 1089 h 1362"/>
                <a:gd name="T78" fmla="*/ 289 w 539"/>
                <a:gd name="T79" fmla="*/ 1343 h 1362"/>
                <a:gd name="T80" fmla="*/ 132 w 539"/>
                <a:gd name="T81" fmla="*/ 1269 h 1362"/>
                <a:gd name="T82" fmla="*/ 388 w 539"/>
                <a:gd name="T83" fmla="*/ 1312 h 1362"/>
                <a:gd name="T84" fmla="*/ 179 w 539"/>
                <a:gd name="T85" fmla="*/ 511 h 1362"/>
                <a:gd name="T86" fmla="*/ 371 w 539"/>
                <a:gd name="T87" fmla="*/ 623 h 1362"/>
                <a:gd name="T88" fmla="*/ 217 w 539"/>
                <a:gd name="T89" fmla="*/ 562 h 1362"/>
                <a:gd name="T90" fmla="*/ 180 w 539"/>
                <a:gd name="T91" fmla="*/ 604 h 1362"/>
                <a:gd name="T92" fmla="*/ 322 w 539"/>
                <a:gd name="T93" fmla="*/ 972 h 1362"/>
                <a:gd name="T94" fmla="*/ 68 w 539"/>
                <a:gd name="T95" fmla="*/ 983 h 1362"/>
                <a:gd name="T96" fmla="*/ 362 w 539"/>
                <a:gd name="T97" fmla="*/ 648 h 1362"/>
                <a:gd name="T98" fmla="*/ 520 w 539"/>
                <a:gd name="T99" fmla="*/ 1036 h 1362"/>
                <a:gd name="T100" fmla="*/ 301 w 539"/>
                <a:gd name="T101" fmla="*/ 692 h 1362"/>
                <a:gd name="T102" fmla="*/ 331 w 539"/>
                <a:gd name="T103" fmla="*/ 493 h 1362"/>
                <a:gd name="T104" fmla="*/ 390 w 539"/>
                <a:gd name="T105" fmla="*/ 790 h 1362"/>
                <a:gd name="T106" fmla="*/ 246 w 539"/>
                <a:gd name="T107" fmla="*/ 652 h 1362"/>
                <a:gd name="T108" fmla="*/ 159 w 539"/>
                <a:gd name="T109" fmla="*/ 992 h 1362"/>
                <a:gd name="T110" fmla="*/ 119 w 539"/>
                <a:gd name="T111" fmla="*/ 909 h 1362"/>
                <a:gd name="T112" fmla="*/ 306 w 539"/>
                <a:gd name="T113" fmla="*/ 677 h 1362"/>
                <a:gd name="T114" fmla="*/ 262 w 539"/>
                <a:gd name="T115" fmla="*/ 1044 h 1362"/>
                <a:gd name="T116" fmla="*/ 101 w 539"/>
                <a:gd name="T117" fmla="*/ 1268 h 1362"/>
                <a:gd name="T118" fmla="*/ 146 w 539"/>
                <a:gd name="T119" fmla="*/ 830 h 1362"/>
                <a:gd name="T120" fmla="*/ 310 w 539"/>
                <a:gd name="T121" fmla="*/ 684 h 1362"/>
                <a:gd name="T122" fmla="*/ 378 w 539"/>
                <a:gd name="T123" fmla="*/ 860 h 1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39" h="1362">
                  <a:moveTo>
                    <a:pt x="278" y="0"/>
                  </a:moveTo>
                  <a:cubicBezTo>
                    <a:pt x="277" y="8"/>
                    <a:pt x="275" y="16"/>
                    <a:pt x="274" y="24"/>
                  </a:cubicBezTo>
                  <a:cubicBezTo>
                    <a:pt x="273" y="78"/>
                    <a:pt x="272" y="132"/>
                    <a:pt x="271" y="186"/>
                  </a:cubicBezTo>
                  <a:cubicBezTo>
                    <a:pt x="270" y="276"/>
                    <a:pt x="270" y="367"/>
                    <a:pt x="269" y="458"/>
                  </a:cubicBezTo>
                  <a:cubicBezTo>
                    <a:pt x="269" y="472"/>
                    <a:pt x="273" y="476"/>
                    <a:pt x="286" y="477"/>
                  </a:cubicBezTo>
                  <a:cubicBezTo>
                    <a:pt x="297" y="477"/>
                    <a:pt x="307" y="479"/>
                    <a:pt x="317" y="482"/>
                  </a:cubicBezTo>
                  <a:cubicBezTo>
                    <a:pt x="324" y="485"/>
                    <a:pt x="335" y="489"/>
                    <a:pt x="337" y="495"/>
                  </a:cubicBezTo>
                  <a:cubicBezTo>
                    <a:pt x="339" y="501"/>
                    <a:pt x="332" y="510"/>
                    <a:pt x="328" y="519"/>
                  </a:cubicBezTo>
                  <a:cubicBezTo>
                    <a:pt x="340" y="522"/>
                    <a:pt x="354" y="526"/>
                    <a:pt x="367" y="530"/>
                  </a:cubicBezTo>
                  <a:cubicBezTo>
                    <a:pt x="371" y="531"/>
                    <a:pt x="376" y="532"/>
                    <a:pt x="379" y="535"/>
                  </a:cubicBezTo>
                  <a:cubicBezTo>
                    <a:pt x="383" y="537"/>
                    <a:pt x="385" y="541"/>
                    <a:pt x="387" y="544"/>
                  </a:cubicBezTo>
                  <a:cubicBezTo>
                    <a:pt x="384" y="546"/>
                    <a:pt x="381" y="550"/>
                    <a:pt x="377" y="550"/>
                  </a:cubicBezTo>
                  <a:cubicBezTo>
                    <a:pt x="367" y="552"/>
                    <a:pt x="356" y="555"/>
                    <a:pt x="345" y="554"/>
                  </a:cubicBezTo>
                  <a:cubicBezTo>
                    <a:pt x="303" y="549"/>
                    <a:pt x="262" y="544"/>
                    <a:pt x="221" y="537"/>
                  </a:cubicBezTo>
                  <a:cubicBezTo>
                    <a:pt x="210" y="536"/>
                    <a:pt x="198" y="532"/>
                    <a:pt x="188" y="526"/>
                  </a:cubicBezTo>
                  <a:cubicBezTo>
                    <a:pt x="179" y="520"/>
                    <a:pt x="175" y="525"/>
                    <a:pt x="170" y="532"/>
                  </a:cubicBezTo>
                  <a:cubicBezTo>
                    <a:pt x="180" y="548"/>
                    <a:pt x="192" y="554"/>
                    <a:pt x="212" y="553"/>
                  </a:cubicBezTo>
                  <a:cubicBezTo>
                    <a:pt x="261" y="549"/>
                    <a:pt x="310" y="554"/>
                    <a:pt x="358" y="567"/>
                  </a:cubicBezTo>
                  <a:cubicBezTo>
                    <a:pt x="365" y="569"/>
                    <a:pt x="371" y="575"/>
                    <a:pt x="377" y="579"/>
                  </a:cubicBezTo>
                  <a:cubicBezTo>
                    <a:pt x="377" y="581"/>
                    <a:pt x="377" y="583"/>
                    <a:pt x="377" y="585"/>
                  </a:cubicBezTo>
                  <a:cubicBezTo>
                    <a:pt x="369" y="587"/>
                    <a:pt x="361" y="590"/>
                    <a:pt x="353" y="590"/>
                  </a:cubicBezTo>
                  <a:cubicBezTo>
                    <a:pt x="304" y="590"/>
                    <a:pt x="256" y="585"/>
                    <a:pt x="210" y="569"/>
                  </a:cubicBezTo>
                  <a:cubicBezTo>
                    <a:pt x="206" y="568"/>
                    <a:pt x="202" y="564"/>
                    <a:pt x="198" y="565"/>
                  </a:cubicBezTo>
                  <a:cubicBezTo>
                    <a:pt x="190" y="567"/>
                    <a:pt x="182" y="571"/>
                    <a:pt x="174" y="574"/>
                  </a:cubicBezTo>
                  <a:cubicBezTo>
                    <a:pt x="179" y="579"/>
                    <a:pt x="182" y="587"/>
                    <a:pt x="189" y="589"/>
                  </a:cubicBezTo>
                  <a:cubicBezTo>
                    <a:pt x="196" y="592"/>
                    <a:pt x="205" y="591"/>
                    <a:pt x="213" y="591"/>
                  </a:cubicBezTo>
                  <a:cubicBezTo>
                    <a:pt x="258" y="595"/>
                    <a:pt x="304" y="599"/>
                    <a:pt x="349" y="603"/>
                  </a:cubicBezTo>
                  <a:cubicBezTo>
                    <a:pt x="355" y="603"/>
                    <a:pt x="362" y="606"/>
                    <a:pt x="367" y="610"/>
                  </a:cubicBezTo>
                  <a:cubicBezTo>
                    <a:pt x="372" y="612"/>
                    <a:pt x="375" y="617"/>
                    <a:pt x="379" y="622"/>
                  </a:cubicBezTo>
                  <a:cubicBezTo>
                    <a:pt x="375" y="625"/>
                    <a:pt x="371" y="628"/>
                    <a:pt x="367" y="630"/>
                  </a:cubicBezTo>
                  <a:cubicBezTo>
                    <a:pt x="364" y="632"/>
                    <a:pt x="361" y="633"/>
                    <a:pt x="359" y="633"/>
                  </a:cubicBezTo>
                  <a:cubicBezTo>
                    <a:pt x="363" y="639"/>
                    <a:pt x="367" y="645"/>
                    <a:pt x="371" y="651"/>
                  </a:cubicBezTo>
                  <a:cubicBezTo>
                    <a:pt x="364" y="654"/>
                    <a:pt x="358" y="660"/>
                    <a:pt x="351" y="660"/>
                  </a:cubicBezTo>
                  <a:cubicBezTo>
                    <a:pt x="336" y="662"/>
                    <a:pt x="321" y="661"/>
                    <a:pt x="304" y="661"/>
                  </a:cubicBezTo>
                  <a:cubicBezTo>
                    <a:pt x="318" y="668"/>
                    <a:pt x="329" y="677"/>
                    <a:pt x="342" y="682"/>
                  </a:cubicBezTo>
                  <a:cubicBezTo>
                    <a:pt x="377" y="696"/>
                    <a:pt x="395" y="725"/>
                    <a:pt x="395" y="759"/>
                  </a:cubicBezTo>
                  <a:cubicBezTo>
                    <a:pt x="396" y="805"/>
                    <a:pt x="417" y="840"/>
                    <a:pt x="440" y="876"/>
                  </a:cubicBezTo>
                  <a:cubicBezTo>
                    <a:pt x="464" y="914"/>
                    <a:pt x="491" y="950"/>
                    <a:pt x="512" y="989"/>
                  </a:cubicBezTo>
                  <a:cubicBezTo>
                    <a:pt x="523" y="1009"/>
                    <a:pt x="525" y="1035"/>
                    <a:pt x="529" y="1059"/>
                  </a:cubicBezTo>
                  <a:cubicBezTo>
                    <a:pt x="532" y="1075"/>
                    <a:pt x="533" y="1092"/>
                    <a:pt x="534" y="1108"/>
                  </a:cubicBezTo>
                  <a:cubicBezTo>
                    <a:pt x="539" y="1185"/>
                    <a:pt x="502" y="1241"/>
                    <a:pt x="444" y="1287"/>
                  </a:cubicBezTo>
                  <a:cubicBezTo>
                    <a:pt x="414" y="1311"/>
                    <a:pt x="380" y="1327"/>
                    <a:pt x="342" y="1335"/>
                  </a:cubicBezTo>
                  <a:cubicBezTo>
                    <a:pt x="321" y="1340"/>
                    <a:pt x="300" y="1348"/>
                    <a:pt x="279" y="1352"/>
                  </a:cubicBezTo>
                  <a:cubicBezTo>
                    <a:pt x="229" y="1362"/>
                    <a:pt x="181" y="1351"/>
                    <a:pt x="138" y="1325"/>
                  </a:cubicBezTo>
                  <a:cubicBezTo>
                    <a:pt x="83" y="1292"/>
                    <a:pt x="36" y="1249"/>
                    <a:pt x="14" y="1186"/>
                  </a:cubicBezTo>
                  <a:cubicBezTo>
                    <a:pt x="0" y="1149"/>
                    <a:pt x="2" y="1110"/>
                    <a:pt x="12" y="1072"/>
                  </a:cubicBezTo>
                  <a:cubicBezTo>
                    <a:pt x="17" y="1054"/>
                    <a:pt x="20" y="1036"/>
                    <a:pt x="27" y="1019"/>
                  </a:cubicBezTo>
                  <a:cubicBezTo>
                    <a:pt x="36" y="997"/>
                    <a:pt x="44" y="971"/>
                    <a:pt x="60" y="954"/>
                  </a:cubicBezTo>
                  <a:cubicBezTo>
                    <a:pt x="90" y="924"/>
                    <a:pt x="101" y="886"/>
                    <a:pt x="113" y="848"/>
                  </a:cubicBezTo>
                  <a:cubicBezTo>
                    <a:pt x="117" y="838"/>
                    <a:pt x="119" y="827"/>
                    <a:pt x="125" y="817"/>
                  </a:cubicBezTo>
                  <a:cubicBezTo>
                    <a:pt x="124" y="851"/>
                    <a:pt x="110" y="882"/>
                    <a:pt x="101" y="913"/>
                  </a:cubicBezTo>
                  <a:cubicBezTo>
                    <a:pt x="129" y="860"/>
                    <a:pt x="154" y="805"/>
                    <a:pt x="146" y="741"/>
                  </a:cubicBezTo>
                  <a:cubicBezTo>
                    <a:pt x="141" y="757"/>
                    <a:pt x="137" y="774"/>
                    <a:pt x="132" y="791"/>
                  </a:cubicBezTo>
                  <a:cubicBezTo>
                    <a:pt x="119" y="771"/>
                    <a:pt x="143" y="722"/>
                    <a:pt x="190" y="669"/>
                  </a:cubicBezTo>
                  <a:cubicBezTo>
                    <a:pt x="181" y="664"/>
                    <a:pt x="172" y="659"/>
                    <a:pt x="159" y="652"/>
                  </a:cubicBezTo>
                  <a:cubicBezTo>
                    <a:pt x="172" y="644"/>
                    <a:pt x="180" y="640"/>
                    <a:pt x="189" y="635"/>
                  </a:cubicBezTo>
                  <a:cubicBezTo>
                    <a:pt x="158" y="616"/>
                    <a:pt x="162" y="608"/>
                    <a:pt x="176" y="595"/>
                  </a:cubicBezTo>
                  <a:cubicBezTo>
                    <a:pt x="159" y="578"/>
                    <a:pt x="159" y="573"/>
                    <a:pt x="178" y="559"/>
                  </a:cubicBezTo>
                  <a:cubicBezTo>
                    <a:pt x="174" y="549"/>
                    <a:pt x="164" y="540"/>
                    <a:pt x="165" y="531"/>
                  </a:cubicBezTo>
                  <a:cubicBezTo>
                    <a:pt x="167" y="518"/>
                    <a:pt x="173" y="505"/>
                    <a:pt x="182" y="495"/>
                  </a:cubicBezTo>
                  <a:cubicBezTo>
                    <a:pt x="188" y="487"/>
                    <a:pt x="201" y="482"/>
                    <a:pt x="211" y="479"/>
                  </a:cubicBezTo>
                  <a:cubicBezTo>
                    <a:pt x="227" y="475"/>
                    <a:pt x="243" y="474"/>
                    <a:pt x="259" y="472"/>
                  </a:cubicBezTo>
                  <a:cubicBezTo>
                    <a:pt x="262" y="315"/>
                    <a:pt x="266" y="157"/>
                    <a:pt x="269" y="0"/>
                  </a:cubicBezTo>
                  <a:cubicBezTo>
                    <a:pt x="272" y="0"/>
                    <a:pt x="275" y="0"/>
                    <a:pt x="278" y="0"/>
                  </a:cubicBezTo>
                  <a:close/>
                  <a:moveTo>
                    <a:pt x="252" y="719"/>
                  </a:moveTo>
                  <a:cubicBezTo>
                    <a:pt x="227" y="724"/>
                    <a:pt x="213" y="737"/>
                    <a:pt x="206" y="762"/>
                  </a:cubicBezTo>
                  <a:cubicBezTo>
                    <a:pt x="196" y="803"/>
                    <a:pt x="183" y="842"/>
                    <a:pt x="155" y="875"/>
                  </a:cubicBezTo>
                  <a:cubicBezTo>
                    <a:pt x="148" y="883"/>
                    <a:pt x="141" y="892"/>
                    <a:pt x="135" y="901"/>
                  </a:cubicBezTo>
                  <a:cubicBezTo>
                    <a:pt x="119" y="928"/>
                    <a:pt x="106" y="956"/>
                    <a:pt x="88" y="981"/>
                  </a:cubicBezTo>
                  <a:cubicBezTo>
                    <a:pt x="72" y="1005"/>
                    <a:pt x="64" y="1030"/>
                    <a:pt x="62" y="1058"/>
                  </a:cubicBezTo>
                  <a:cubicBezTo>
                    <a:pt x="56" y="1131"/>
                    <a:pt x="74" y="1196"/>
                    <a:pt x="126" y="1249"/>
                  </a:cubicBezTo>
                  <a:cubicBezTo>
                    <a:pt x="143" y="1266"/>
                    <a:pt x="158" y="1283"/>
                    <a:pt x="184" y="1288"/>
                  </a:cubicBezTo>
                  <a:cubicBezTo>
                    <a:pt x="235" y="1297"/>
                    <a:pt x="284" y="1294"/>
                    <a:pt x="332" y="1275"/>
                  </a:cubicBezTo>
                  <a:cubicBezTo>
                    <a:pt x="436" y="1234"/>
                    <a:pt x="460" y="1168"/>
                    <a:pt x="455" y="1082"/>
                  </a:cubicBezTo>
                  <a:cubicBezTo>
                    <a:pt x="451" y="1008"/>
                    <a:pt x="416" y="941"/>
                    <a:pt x="381" y="876"/>
                  </a:cubicBezTo>
                  <a:cubicBezTo>
                    <a:pt x="364" y="846"/>
                    <a:pt x="352" y="814"/>
                    <a:pt x="352" y="779"/>
                  </a:cubicBezTo>
                  <a:cubicBezTo>
                    <a:pt x="352" y="750"/>
                    <a:pt x="335" y="731"/>
                    <a:pt x="305" y="727"/>
                  </a:cubicBezTo>
                  <a:cubicBezTo>
                    <a:pt x="291" y="799"/>
                    <a:pt x="291" y="871"/>
                    <a:pt x="311" y="943"/>
                  </a:cubicBezTo>
                  <a:cubicBezTo>
                    <a:pt x="315" y="957"/>
                    <a:pt x="320" y="962"/>
                    <a:pt x="335" y="962"/>
                  </a:cubicBezTo>
                  <a:cubicBezTo>
                    <a:pt x="358" y="961"/>
                    <a:pt x="379" y="974"/>
                    <a:pt x="386" y="993"/>
                  </a:cubicBezTo>
                  <a:cubicBezTo>
                    <a:pt x="393" y="1011"/>
                    <a:pt x="384" y="1023"/>
                    <a:pt x="365" y="1024"/>
                  </a:cubicBezTo>
                  <a:cubicBezTo>
                    <a:pt x="350" y="1024"/>
                    <a:pt x="337" y="1017"/>
                    <a:pt x="329" y="1005"/>
                  </a:cubicBezTo>
                  <a:cubicBezTo>
                    <a:pt x="322" y="995"/>
                    <a:pt x="316" y="984"/>
                    <a:pt x="309" y="971"/>
                  </a:cubicBezTo>
                  <a:cubicBezTo>
                    <a:pt x="299" y="976"/>
                    <a:pt x="288" y="981"/>
                    <a:pt x="278" y="987"/>
                  </a:cubicBezTo>
                  <a:cubicBezTo>
                    <a:pt x="270" y="991"/>
                    <a:pt x="266" y="996"/>
                    <a:pt x="271" y="1005"/>
                  </a:cubicBezTo>
                  <a:cubicBezTo>
                    <a:pt x="275" y="1012"/>
                    <a:pt x="277" y="1021"/>
                    <a:pt x="277" y="1029"/>
                  </a:cubicBezTo>
                  <a:cubicBezTo>
                    <a:pt x="276" y="1039"/>
                    <a:pt x="276" y="1051"/>
                    <a:pt x="263" y="1053"/>
                  </a:cubicBezTo>
                  <a:cubicBezTo>
                    <a:pt x="254" y="1055"/>
                    <a:pt x="240" y="1041"/>
                    <a:pt x="240" y="1030"/>
                  </a:cubicBezTo>
                  <a:cubicBezTo>
                    <a:pt x="240" y="1023"/>
                    <a:pt x="242" y="1016"/>
                    <a:pt x="244" y="1009"/>
                  </a:cubicBezTo>
                  <a:cubicBezTo>
                    <a:pt x="246" y="1004"/>
                    <a:pt x="250" y="999"/>
                    <a:pt x="254" y="992"/>
                  </a:cubicBezTo>
                  <a:cubicBezTo>
                    <a:pt x="240" y="986"/>
                    <a:pt x="227" y="979"/>
                    <a:pt x="213" y="975"/>
                  </a:cubicBezTo>
                  <a:cubicBezTo>
                    <a:pt x="210" y="974"/>
                    <a:pt x="204" y="977"/>
                    <a:pt x="200" y="980"/>
                  </a:cubicBezTo>
                  <a:cubicBezTo>
                    <a:pt x="191" y="987"/>
                    <a:pt x="182" y="996"/>
                    <a:pt x="173" y="1002"/>
                  </a:cubicBezTo>
                  <a:cubicBezTo>
                    <a:pt x="163" y="1009"/>
                    <a:pt x="154" y="1005"/>
                    <a:pt x="152" y="995"/>
                  </a:cubicBezTo>
                  <a:cubicBezTo>
                    <a:pt x="150" y="988"/>
                    <a:pt x="149" y="975"/>
                    <a:pt x="153" y="971"/>
                  </a:cubicBezTo>
                  <a:cubicBezTo>
                    <a:pt x="160" y="965"/>
                    <a:pt x="173" y="959"/>
                    <a:pt x="181" y="961"/>
                  </a:cubicBezTo>
                  <a:cubicBezTo>
                    <a:pt x="202" y="966"/>
                    <a:pt x="211" y="956"/>
                    <a:pt x="218" y="940"/>
                  </a:cubicBezTo>
                  <a:cubicBezTo>
                    <a:pt x="251" y="870"/>
                    <a:pt x="261" y="797"/>
                    <a:pt x="252" y="719"/>
                  </a:cubicBezTo>
                  <a:close/>
                  <a:moveTo>
                    <a:pt x="365" y="758"/>
                  </a:moveTo>
                  <a:cubicBezTo>
                    <a:pt x="364" y="759"/>
                    <a:pt x="363" y="759"/>
                    <a:pt x="361" y="759"/>
                  </a:cubicBezTo>
                  <a:cubicBezTo>
                    <a:pt x="367" y="779"/>
                    <a:pt x="374" y="798"/>
                    <a:pt x="379" y="818"/>
                  </a:cubicBezTo>
                  <a:cubicBezTo>
                    <a:pt x="391" y="860"/>
                    <a:pt x="405" y="899"/>
                    <a:pt x="431" y="936"/>
                  </a:cubicBezTo>
                  <a:cubicBezTo>
                    <a:pt x="476" y="1000"/>
                    <a:pt x="491" y="1072"/>
                    <a:pt x="472" y="1148"/>
                  </a:cubicBezTo>
                  <a:cubicBezTo>
                    <a:pt x="453" y="1222"/>
                    <a:pt x="415" y="1282"/>
                    <a:pt x="340" y="1310"/>
                  </a:cubicBezTo>
                  <a:cubicBezTo>
                    <a:pt x="314" y="1319"/>
                    <a:pt x="285" y="1323"/>
                    <a:pt x="260" y="1329"/>
                  </a:cubicBezTo>
                  <a:cubicBezTo>
                    <a:pt x="289" y="1334"/>
                    <a:pt x="319" y="1337"/>
                    <a:pt x="349" y="1321"/>
                  </a:cubicBezTo>
                  <a:cubicBezTo>
                    <a:pt x="425" y="1279"/>
                    <a:pt x="482" y="1220"/>
                    <a:pt x="510" y="1136"/>
                  </a:cubicBezTo>
                  <a:cubicBezTo>
                    <a:pt x="522" y="1098"/>
                    <a:pt x="524" y="1062"/>
                    <a:pt x="505" y="1027"/>
                  </a:cubicBezTo>
                  <a:cubicBezTo>
                    <a:pt x="491" y="1001"/>
                    <a:pt x="478" y="973"/>
                    <a:pt x="463" y="948"/>
                  </a:cubicBezTo>
                  <a:cubicBezTo>
                    <a:pt x="431" y="895"/>
                    <a:pt x="398" y="843"/>
                    <a:pt x="376" y="785"/>
                  </a:cubicBezTo>
                  <a:cubicBezTo>
                    <a:pt x="373" y="776"/>
                    <a:pt x="369" y="767"/>
                    <a:pt x="365" y="758"/>
                  </a:cubicBezTo>
                  <a:close/>
                  <a:moveTo>
                    <a:pt x="260" y="717"/>
                  </a:moveTo>
                  <a:cubicBezTo>
                    <a:pt x="270" y="806"/>
                    <a:pt x="257" y="888"/>
                    <a:pt x="214" y="965"/>
                  </a:cubicBezTo>
                  <a:cubicBezTo>
                    <a:pt x="228" y="972"/>
                    <a:pt x="243" y="979"/>
                    <a:pt x="257" y="985"/>
                  </a:cubicBezTo>
                  <a:cubicBezTo>
                    <a:pt x="260" y="987"/>
                    <a:pt x="264" y="986"/>
                    <a:pt x="266" y="985"/>
                  </a:cubicBezTo>
                  <a:cubicBezTo>
                    <a:pt x="280" y="978"/>
                    <a:pt x="293" y="970"/>
                    <a:pt x="309" y="962"/>
                  </a:cubicBezTo>
                  <a:cubicBezTo>
                    <a:pt x="283" y="884"/>
                    <a:pt x="284" y="804"/>
                    <a:pt x="297" y="722"/>
                  </a:cubicBezTo>
                  <a:cubicBezTo>
                    <a:pt x="285" y="721"/>
                    <a:pt x="275" y="719"/>
                    <a:pt x="260" y="717"/>
                  </a:cubicBezTo>
                  <a:close/>
                  <a:moveTo>
                    <a:pt x="211" y="683"/>
                  </a:moveTo>
                  <a:cubicBezTo>
                    <a:pt x="211" y="682"/>
                    <a:pt x="211" y="681"/>
                    <a:pt x="211" y="680"/>
                  </a:cubicBezTo>
                  <a:cubicBezTo>
                    <a:pt x="214" y="678"/>
                    <a:pt x="218" y="675"/>
                    <a:pt x="222" y="673"/>
                  </a:cubicBezTo>
                  <a:cubicBezTo>
                    <a:pt x="221" y="671"/>
                    <a:pt x="219" y="669"/>
                    <a:pt x="218" y="667"/>
                  </a:cubicBezTo>
                  <a:cubicBezTo>
                    <a:pt x="206" y="674"/>
                    <a:pt x="194" y="680"/>
                    <a:pt x="183" y="687"/>
                  </a:cubicBezTo>
                  <a:cubicBezTo>
                    <a:pt x="183" y="688"/>
                    <a:pt x="184" y="689"/>
                    <a:pt x="185" y="691"/>
                  </a:cubicBezTo>
                  <a:cubicBezTo>
                    <a:pt x="191" y="687"/>
                    <a:pt x="197" y="684"/>
                    <a:pt x="202" y="680"/>
                  </a:cubicBezTo>
                  <a:cubicBezTo>
                    <a:pt x="203" y="682"/>
                    <a:pt x="205" y="683"/>
                    <a:pt x="206" y="685"/>
                  </a:cubicBezTo>
                  <a:cubicBezTo>
                    <a:pt x="198" y="690"/>
                    <a:pt x="189" y="696"/>
                    <a:pt x="182" y="702"/>
                  </a:cubicBezTo>
                  <a:cubicBezTo>
                    <a:pt x="174" y="709"/>
                    <a:pt x="166" y="716"/>
                    <a:pt x="162" y="725"/>
                  </a:cubicBezTo>
                  <a:cubicBezTo>
                    <a:pt x="158" y="734"/>
                    <a:pt x="158" y="745"/>
                    <a:pt x="156" y="755"/>
                  </a:cubicBezTo>
                  <a:cubicBezTo>
                    <a:pt x="182" y="712"/>
                    <a:pt x="205" y="690"/>
                    <a:pt x="231" y="691"/>
                  </a:cubicBezTo>
                  <a:cubicBezTo>
                    <a:pt x="226" y="694"/>
                    <a:pt x="223" y="697"/>
                    <a:pt x="219" y="699"/>
                  </a:cubicBezTo>
                  <a:cubicBezTo>
                    <a:pt x="193" y="711"/>
                    <a:pt x="175" y="733"/>
                    <a:pt x="168" y="759"/>
                  </a:cubicBezTo>
                  <a:cubicBezTo>
                    <a:pt x="159" y="794"/>
                    <a:pt x="155" y="830"/>
                    <a:pt x="149" y="865"/>
                  </a:cubicBezTo>
                  <a:cubicBezTo>
                    <a:pt x="151" y="865"/>
                    <a:pt x="152" y="866"/>
                    <a:pt x="153" y="866"/>
                  </a:cubicBezTo>
                  <a:cubicBezTo>
                    <a:pt x="160" y="854"/>
                    <a:pt x="169" y="843"/>
                    <a:pt x="174" y="830"/>
                  </a:cubicBezTo>
                  <a:cubicBezTo>
                    <a:pt x="184" y="806"/>
                    <a:pt x="192" y="781"/>
                    <a:pt x="200" y="757"/>
                  </a:cubicBezTo>
                  <a:cubicBezTo>
                    <a:pt x="211" y="724"/>
                    <a:pt x="227" y="712"/>
                    <a:pt x="261" y="712"/>
                  </a:cubicBezTo>
                  <a:cubicBezTo>
                    <a:pt x="273" y="712"/>
                    <a:pt x="285" y="712"/>
                    <a:pt x="300" y="712"/>
                  </a:cubicBezTo>
                  <a:cubicBezTo>
                    <a:pt x="288" y="669"/>
                    <a:pt x="257" y="691"/>
                    <a:pt x="229" y="691"/>
                  </a:cubicBezTo>
                  <a:cubicBezTo>
                    <a:pt x="236" y="686"/>
                    <a:pt x="239" y="683"/>
                    <a:pt x="245" y="678"/>
                  </a:cubicBezTo>
                  <a:cubicBezTo>
                    <a:pt x="231" y="680"/>
                    <a:pt x="221" y="682"/>
                    <a:pt x="211" y="683"/>
                  </a:cubicBezTo>
                  <a:close/>
                  <a:moveTo>
                    <a:pt x="185" y="1297"/>
                  </a:moveTo>
                  <a:cubicBezTo>
                    <a:pt x="185" y="1298"/>
                    <a:pt x="184" y="1300"/>
                    <a:pt x="184" y="1302"/>
                  </a:cubicBezTo>
                  <a:cubicBezTo>
                    <a:pt x="199" y="1306"/>
                    <a:pt x="214" y="1313"/>
                    <a:pt x="229" y="1315"/>
                  </a:cubicBezTo>
                  <a:cubicBezTo>
                    <a:pt x="246" y="1318"/>
                    <a:pt x="265" y="1317"/>
                    <a:pt x="282" y="1316"/>
                  </a:cubicBezTo>
                  <a:cubicBezTo>
                    <a:pt x="331" y="1311"/>
                    <a:pt x="374" y="1293"/>
                    <a:pt x="406" y="1257"/>
                  </a:cubicBezTo>
                  <a:cubicBezTo>
                    <a:pt x="463" y="1193"/>
                    <a:pt x="483" y="1118"/>
                    <a:pt x="466" y="1034"/>
                  </a:cubicBezTo>
                  <a:cubicBezTo>
                    <a:pt x="458" y="996"/>
                    <a:pt x="441" y="962"/>
                    <a:pt x="418" y="931"/>
                  </a:cubicBezTo>
                  <a:cubicBezTo>
                    <a:pt x="421" y="942"/>
                    <a:pt x="425" y="953"/>
                    <a:pt x="429" y="963"/>
                  </a:cubicBezTo>
                  <a:cubicBezTo>
                    <a:pt x="453" y="1018"/>
                    <a:pt x="470" y="1073"/>
                    <a:pt x="460" y="1134"/>
                  </a:cubicBezTo>
                  <a:cubicBezTo>
                    <a:pt x="450" y="1199"/>
                    <a:pt x="416" y="1245"/>
                    <a:pt x="357" y="1273"/>
                  </a:cubicBezTo>
                  <a:cubicBezTo>
                    <a:pt x="303" y="1300"/>
                    <a:pt x="245" y="1304"/>
                    <a:pt x="185" y="1297"/>
                  </a:cubicBezTo>
                  <a:close/>
                  <a:moveTo>
                    <a:pt x="289" y="1343"/>
                  </a:moveTo>
                  <a:cubicBezTo>
                    <a:pt x="248" y="1333"/>
                    <a:pt x="208" y="1324"/>
                    <a:pt x="169" y="1311"/>
                  </a:cubicBezTo>
                  <a:cubicBezTo>
                    <a:pt x="113" y="1293"/>
                    <a:pt x="70" y="1258"/>
                    <a:pt x="45" y="1201"/>
                  </a:cubicBezTo>
                  <a:cubicBezTo>
                    <a:pt x="29" y="1165"/>
                    <a:pt x="18" y="1128"/>
                    <a:pt x="18" y="1089"/>
                  </a:cubicBezTo>
                  <a:cubicBezTo>
                    <a:pt x="8" y="1118"/>
                    <a:pt x="10" y="1147"/>
                    <a:pt x="19" y="1176"/>
                  </a:cubicBezTo>
                  <a:cubicBezTo>
                    <a:pt x="32" y="1221"/>
                    <a:pt x="61" y="1255"/>
                    <a:pt x="95" y="1284"/>
                  </a:cubicBezTo>
                  <a:cubicBezTo>
                    <a:pt x="144" y="1327"/>
                    <a:pt x="200" y="1353"/>
                    <a:pt x="267" y="1346"/>
                  </a:cubicBezTo>
                  <a:cubicBezTo>
                    <a:pt x="274" y="1346"/>
                    <a:pt x="282" y="1344"/>
                    <a:pt x="289" y="1343"/>
                  </a:cubicBezTo>
                  <a:close/>
                  <a:moveTo>
                    <a:pt x="132" y="1269"/>
                  </a:moveTo>
                  <a:cubicBezTo>
                    <a:pt x="71" y="1209"/>
                    <a:pt x="44" y="1136"/>
                    <a:pt x="52" y="1050"/>
                  </a:cubicBezTo>
                  <a:cubicBezTo>
                    <a:pt x="47" y="1078"/>
                    <a:pt x="44" y="1107"/>
                    <a:pt x="42" y="1135"/>
                  </a:cubicBezTo>
                  <a:cubicBezTo>
                    <a:pt x="39" y="1201"/>
                    <a:pt x="76" y="1242"/>
                    <a:pt x="132" y="1269"/>
                  </a:cubicBezTo>
                  <a:close/>
                  <a:moveTo>
                    <a:pt x="388" y="1312"/>
                  </a:moveTo>
                  <a:cubicBezTo>
                    <a:pt x="472" y="1277"/>
                    <a:pt x="536" y="1188"/>
                    <a:pt x="525" y="1111"/>
                  </a:cubicBezTo>
                  <a:cubicBezTo>
                    <a:pt x="512" y="1153"/>
                    <a:pt x="501" y="1194"/>
                    <a:pt x="472" y="1225"/>
                  </a:cubicBezTo>
                  <a:cubicBezTo>
                    <a:pt x="444" y="1257"/>
                    <a:pt x="413" y="1286"/>
                    <a:pt x="388" y="1312"/>
                  </a:cubicBezTo>
                  <a:close/>
                  <a:moveTo>
                    <a:pt x="373" y="542"/>
                  </a:moveTo>
                  <a:cubicBezTo>
                    <a:pt x="316" y="520"/>
                    <a:pt x="257" y="516"/>
                    <a:pt x="197" y="520"/>
                  </a:cubicBezTo>
                  <a:cubicBezTo>
                    <a:pt x="254" y="541"/>
                    <a:pt x="313" y="546"/>
                    <a:pt x="373" y="542"/>
                  </a:cubicBezTo>
                  <a:close/>
                  <a:moveTo>
                    <a:pt x="179" y="511"/>
                  </a:moveTo>
                  <a:cubicBezTo>
                    <a:pt x="216" y="511"/>
                    <a:pt x="251" y="511"/>
                    <a:pt x="286" y="511"/>
                  </a:cubicBezTo>
                  <a:cubicBezTo>
                    <a:pt x="270" y="500"/>
                    <a:pt x="263" y="475"/>
                    <a:pt x="235" y="482"/>
                  </a:cubicBezTo>
                  <a:cubicBezTo>
                    <a:pt x="215" y="488"/>
                    <a:pt x="192" y="486"/>
                    <a:pt x="179" y="511"/>
                  </a:cubicBezTo>
                  <a:close/>
                  <a:moveTo>
                    <a:pt x="371" y="623"/>
                  </a:moveTo>
                  <a:cubicBezTo>
                    <a:pt x="348" y="606"/>
                    <a:pt x="245" y="592"/>
                    <a:pt x="218" y="601"/>
                  </a:cubicBezTo>
                  <a:cubicBezTo>
                    <a:pt x="268" y="615"/>
                    <a:pt x="317" y="628"/>
                    <a:pt x="371" y="623"/>
                  </a:cubicBezTo>
                  <a:close/>
                  <a:moveTo>
                    <a:pt x="363" y="580"/>
                  </a:moveTo>
                  <a:cubicBezTo>
                    <a:pt x="316" y="562"/>
                    <a:pt x="267" y="557"/>
                    <a:pt x="217" y="562"/>
                  </a:cubicBezTo>
                  <a:cubicBezTo>
                    <a:pt x="264" y="578"/>
                    <a:pt x="313" y="584"/>
                    <a:pt x="363" y="580"/>
                  </a:cubicBezTo>
                  <a:close/>
                  <a:moveTo>
                    <a:pt x="289" y="628"/>
                  </a:moveTo>
                  <a:cubicBezTo>
                    <a:pt x="256" y="619"/>
                    <a:pt x="226" y="610"/>
                    <a:pt x="196" y="602"/>
                  </a:cubicBezTo>
                  <a:cubicBezTo>
                    <a:pt x="191" y="601"/>
                    <a:pt x="185" y="602"/>
                    <a:pt x="180" y="604"/>
                  </a:cubicBezTo>
                  <a:cubicBezTo>
                    <a:pt x="173" y="606"/>
                    <a:pt x="171" y="613"/>
                    <a:pt x="177" y="617"/>
                  </a:cubicBezTo>
                  <a:cubicBezTo>
                    <a:pt x="189" y="623"/>
                    <a:pt x="203" y="632"/>
                    <a:pt x="216" y="632"/>
                  </a:cubicBezTo>
                  <a:cubicBezTo>
                    <a:pt x="239" y="633"/>
                    <a:pt x="263" y="630"/>
                    <a:pt x="289" y="628"/>
                  </a:cubicBezTo>
                  <a:close/>
                  <a:moveTo>
                    <a:pt x="322" y="972"/>
                  </a:moveTo>
                  <a:cubicBezTo>
                    <a:pt x="326" y="997"/>
                    <a:pt x="342" y="1014"/>
                    <a:pt x="362" y="1015"/>
                  </a:cubicBezTo>
                  <a:cubicBezTo>
                    <a:pt x="378" y="1017"/>
                    <a:pt x="384" y="1008"/>
                    <a:pt x="378" y="994"/>
                  </a:cubicBezTo>
                  <a:cubicBezTo>
                    <a:pt x="369" y="974"/>
                    <a:pt x="350" y="967"/>
                    <a:pt x="322" y="972"/>
                  </a:cubicBezTo>
                  <a:close/>
                  <a:moveTo>
                    <a:pt x="68" y="983"/>
                  </a:moveTo>
                  <a:cubicBezTo>
                    <a:pt x="29" y="1022"/>
                    <a:pt x="12" y="1110"/>
                    <a:pt x="37" y="1147"/>
                  </a:cubicBezTo>
                  <a:cubicBezTo>
                    <a:pt x="28" y="1087"/>
                    <a:pt x="47" y="1035"/>
                    <a:pt x="68" y="983"/>
                  </a:cubicBezTo>
                  <a:close/>
                  <a:moveTo>
                    <a:pt x="241" y="640"/>
                  </a:moveTo>
                  <a:cubicBezTo>
                    <a:pt x="281" y="648"/>
                    <a:pt x="321" y="659"/>
                    <a:pt x="362" y="648"/>
                  </a:cubicBezTo>
                  <a:cubicBezTo>
                    <a:pt x="323" y="631"/>
                    <a:pt x="281" y="640"/>
                    <a:pt x="241" y="640"/>
                  </a:cubicBezTo>
                  <a:close/>
                  <a:moveTo>
                    <a:pt x="520" y="1036"/>
                  </a:moveTo>
                  <a:cubicBezTo>
                    <a:pt x="511" y="980"/>
                    <a:pt x="473" y="938"/>
                    <a:pt x="441" y="894"/>
                  </a:cubicBezTo>
                  <a:cubicBezTo>
                    <a:pt x="468" y="941"/>
                    <a:pt x="494" y="989"/>
                    <a:pt x="520" y="1036"/>
                  </a:cubicBezTo>
                  <a:close/>
                  <a:moveTo>
                    <a:pt x="301" y="692"/>
                  </a:moveTo>
                  <a:cubicBezTo>
                    <a:pt x="305" y="703"/>
                    <a:pt x="306" y="713"/>
                    <a:pt x="312" y="718"/>
                  </a:cubicBezTo>
                  <a:cubicBezTo>
                    <a:pt x="325" y="728"/>
                    <a:pt x="341" y="736"/>
                    <a:pt x="356" y="744"/>
                  </a:cubicBezTo>
                  <a:cubicBezTo>
                    <a:pt x="359" y="728"/>
                    <a:pt x="339" y="707"/>
                    <a:pt x="301" y="692"/>
                  </a:cubicBezTo>
                  <a:close/>
                  <a:moveTo>
                    <a:pt x="270" y="480"/>
                  </a:moveTo>
                  <a:cubicBezTo>
                    <a:pt x="281" y="501"/>
                    <a:pt x="295" y="508"/>
                    <a:pt x="312" y="508"/>
                  </a:cubicBezTo>
                  <a:cubicBezTo>
                    <a:pt x="318" y="508"/>
                    <a:pt x="325" y="504"/>
                    <a:pt x="332" y="501"/>
                  </a:cubicBezTo>
                  <a:cubicBezTo>
                    <a:pt x="331" y="499"/>
                    <a:pt x="331" y="496"/>
                    <a:pt x="331" y="493"/>
                  </a:cubicBezTo>
                  <a:cubicBezTo>
                    <a:pt x="312" y="489"/>
                    <a:pt x="293" y="485"/>
                    <a:pt x="270" y="480"/>
                  </a:cubicBezTo>
                  <a:close/>
                  <a:moveTo>
                    <a:pt x="359" y="707"/>
                  </a:moveTo>
                  <a:cubicBezTo>
                    <a:pt x="368" y="735"/>
                    <a:pt x="377" y="763"/>
                    <a:pt x="386" y="792"/>
                  </a:cubicBezTo>
                  <a:cubicBezTo>
                    <a:pt x="387" y="791"/>
                    <a:pt x="389" y="791"/>
                    <a:pt x="390" y="790"/>
                  </a:cubicBezTo>
                  <a:cubicBezTo>
                    <a:pt x="388" y="760"/>
                    <a:pt x="389" y="728"/>
                    <a:pt x="359" y="707"/>
                  </a:cubicBezTo>
                  <a:close/>
                  <a:moveTo>
                    <a:pt x="246" y="652"/>
                  </a:moveTo>
                  <a:cubicBezTo>
                    <a:pt x="209" y="639"/>
                    <a:pt x="193" y="639"/>
                    <a:pt x="176" y="652"/>
                  </a:cubicBezTo>
                  <a:cubicBezTo>
                    <a:pt x="198" y="670"/>
                    <a:pt x="220" y="656"/>
                    <a:pt x="246" y="652"/>
                  </a:cubicBezTo>
                  <a:close/>
                  <a:moveTo>
                    <a:pt x="195" y="974"/>
                  </a:moveTo>
                  <a:cubicBezTo>
                    <a:pt x="195" y="972"/>
                    <a:pt x="195" y="970"/>
                    <a:pt x="194" y="968"/>
                  </a:cubicBezTo>
                  <a:cubicBezTo>
                    <a:pt x="185" y="969"/>
                    <a:pt x="175" y="968"/>
                    <a:pt x="165" y="971"/>
                  </a:cubicBezTo>
                  <a:cubicBezTo>
                    <a:pt x="153" y="974"/>
                    <a:pt x="156" y="984"/>
                    <a:pt x="159" y="992"/>
                  </a:cubicBezTo>
                  <a:cubicBezTo>
                    <a:pt x="160" y="994"/>
                    <a:pt x="171" y="994"/>
                    <a:pt x="176" y="991"/>
                  </a:cubicBezTo>
                  <a:cubicBezTo>
                    <a:pt x="183" y="987"/>
                    <a:pt x="189" y="980"/>
                    <a:pt x="195" y="974"/>
                  </a:cubicBezTo>
                  <a:close/>
                  <a:moveTo>
                    <a:pt x="124" y="912"/>
                  </a:moveTo>
                  <a:cubicBezTo>
                    <a:pt x="122" y="911"/>
                    <a:pt x="120" y="910"/>
                    <a:pt x="119" y="909"/>
                  </a:cubicBezTo>
                  <a:cubicBezTo>
                    <a:pt x="101" y="930"/>
                    <a:pt x="82" y="950"/>
                    <a:pt x="81" y="981"/>
                  </a:cubicBezTo>
                  <a:cubicBezTo>
                    <a:pt x="95" y="958"/>
                    <a:pt x="109" y="935"/>
                    <a:pt x="124" y="912"/>
                  </a:cubicBezTo>
                  <a:close/>
                  <a:moveTo>
                    <a:pt x="229" y="669"/>
                  </a:moveTo>
                  <a:cubicBezTo>
                    <a:pt x="255" y="672"/>
                    <a:pt x="280" y="674"/>
                    <a:pt x="306" y="677"/>
                  </a:cubicBezTo>
                  <a:cubicBezTo>
                    <a:pt x="286" y="661"/>
                    <a:pt x="246" y="657"/>
                    <a:pt x="229" y="669"/>
                  </a:cubicBezTo>
                  <a:close/>
                  <a:moveTo>
                    <a:pt x="263" y="999"/>
                  </a:moveTo>
                  <a:cubicBezTo>
                    <a:pt x="245" y="1018"/>
                    <a:pt x="242" y="1028"/>
                    <a:pt x="252" y="1038"/>
                  </a:cubicBezTo>
                  <a:cubicBezTo>
                    <a:pt x="254" y="1041"/>
                    <a:pt x="259" y="1044"/>
                    <a:pt x="262" y="1044"/>
                  </a:cubicBezTo>
                  <a:cubicBezTo>
                    <a:pt x="265" y="1043"/>
                    <a:pt x="268" y="1037"/>
                    <a:pt x="268" y="1034"/>
                  </a:cubicBezTo>
                  <a:cubicBezTo>
                    <a:pt x="267" y="1023"/>
                    <a:pt x="265" y="1013"/>
                    <a:pt x="263" y="999"/>
                  </a:cubicBezTo>
                  <a:close/>
                  <a:moveTo>
                    <a:pt x="103" y="1264"/>
                  </a:moveTo>
                  <a:cubicBezTo>
                    <a:pt x="102" y="1265"/>
                    <a:pt x="101" y="1267"/>
                    <a:pt x="101" y="1268"/>
                  </a:cubicBezTo>
                  <a:cubicBezTo>
                    <a:pt x="125" y="1281"/>
                    <a:pt x="149" y="1294"/>
                    <a:pt x="173" y="1307"/>
                  </a:cubicBezTo>
                  <a:cubicBezTo>
                    <a:pt x="175" y="1305"/>
                    <a:pt x="176" y="1303"/>
                    <a:pt x="177" y="1301"/>
                  </a:cubicBezTo>
                  <a:cubicBezTo>
                    <a:pt x="152" y="1289"/>
                    <a:pt x="128" y="1276"/>
                    <a:pt x="103" y="1264"/>
                  </a:cubicBezTo>
                  <a:close/>
                  <a:moveTo>
                    <a:pt x="146" y="830"/>
                  </a:moveTo>
                  <a:cubicBezTo>
                    <a:pt x="138" y="851"/>
                    <a:pt x="130" y="872"/>
                    <a:pt x="123" y="893"/>
                  </a:cubicBezTo>
                  <a:cubicBezTo>
                    <a:pt x="141" y="876"/>
                    <a:pt x="144" y="853"/>
                    <a:pt x="146" y="830"/>
                  </a:cubicBezTo>
                  <a:close/>
                  <a:moveTo>
                    <a:pt x="352" y="713"/>
                  </a:moveTo>
                  <a:cubicBezTo>
                    <a:pt x="344" y="691"/>
                    <a:pt x="333" y="683"/>
                    <a:pt x="310" y="684"/>
                  </a:cubicBezTo>
                  <a:cubicBezTo>
                    <a:pt x="325" y="694"/>
                    <a:pt x="338" y="704"/>
                    <a:pt x="352" y="713"/>
                  </a:cubicBezTo>
                  <a:close/>
                  <a:moveTo>
                    <a:pt x="363" y="789"/>
                  </a:moveTo>
                  <a:cubicBezTo>
                    <a:pt x="361" y="790"/>
                    <a:pt x="359" y="790"/>
                    <a:pt x="357" y="791"/>
                  </a:cubicBezTo>
                  <a:cubicBezTo>
                    <a:pt x="364" y="814"/>
                    <a:pt x="371" y="837"/>
                    <a:pt x="378" y="860"/>
                  </a:cubicBezTo>
                  <a:cubicBezTo>
                    <a:pt x="380" y="860"/>
                    <a:pt x="381" y="859"/>
                    <a:pt x="383" y="859"/>
                  </a:cubicBezTo>
                  <a:cubicBezTo>
                    <a:pt x="376" y="836"/>
                    <a:pt x="370" y="813"/>
                    <a:pt x="363" y="789"/>
                  </a:cubicBez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ru-RU"/>
            </a:p>
          </p:txBody>
        </p:sp>
        <p:grpSp>
          <p:nvGrpSpPr>
            <p:cNvPr id="18" name="Группа 17">
              <a:extLst>
                <a:ext uri="{FF2B5EF4-FFF2-40B4-BE49-F238E27FC236}">
                  <a16:creationId xmlns:a16="http://schemas.microsoft.com/office/drawing/2014/main" id="{D28A826B-6141-4FEE-8324-3426DD4FA3CE}"/>
                </a:ext>
              </a:extLst>
            </p:cNvPr>
            <p:cNvGrpSpPr/>
            <p:nvPr userDrawn="1"/>
          </p:nvGrpSpPr>
          <p:grpSpPr>
            <a:xfrm>
              <a:off x="7204034" y="20375"/>
              <a:ext cx="2404145" cy="4077669"/>
              <a:chOff x="6362008" y="26846"/>
              <a:chExt cx="2807415" cy="4761655"/>
            </a:xfrm>
          </p:grpSpPr>
          <p:sp>
            <p:nvSpPr>
              <p:cNvPr id="232" name="Freeform 3937">
                <a:extLst>
                  <a:ext uri="{FF2B5EF4-FFF2-40B4-BE49-F238E27FC236}">
                    <a16:creationId xmlns:a16="http://schemas.microsoft.com/office/drawing/2014/main" id="{749C7AD5-E7A9-4FA4-BFBD-AFA8D4419B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57303" y="26846"/>
                <a:ext cx="1158706" cy="781120"/>
              </a:xfrm>
              <a:custGeom>
                <a:avLst/>
                <a:gdLst>
                  <a:gd name="T0" fmla="*/ 115 w 402"/>
                  <a:gd name="T1" fmla="*/ 271 h 271"/>
                  <a:gd name="T2" fmla="*/ 3 w 402"/>
                  <a:gd name="T3" fmla="*/ 142 h 271"/>
                  <a:gd name="T4" fmla="*/ 3 w 402"/>
                  <a:gd name="T5" fmla="*/ 140 h 271"/>
                  <a:gd name="T6" fmla="*/ 0 w 402"/>
                  <a:gd name="T7" fmla="*/ 19 h 271"/>
                  <a:gd name="T8" fmla="*/ 137 w 402"/>
                  <a:gd name="T9" fmla="*/ 45 h 271"/>
                  <a:gd name="T10" fmla="*/ 191 w 402"/>
                  <a:gd name="T11" fmla="*/ 10 h 271"/>
                  <a:gd name="T12" fmla="*/ 336 w 402"/>
                  <a:gd name="T13" fmla="*/ 88 h 271"/>
                  <a:gd name="T14" fmla="*/ 287 w 402"/>
                  <a:gd name="T15" fmla="*/ 0 h 271"/>
                  <a:gd name="T16" fmla="*/ 395 w 402"/>
                  <a:gd name="T17" fmla="*/ 101 h 271"/>
                  <a:gd name="T18" fmla="*/ 401 w 402"/>
                  <a:gd name="T19" fmla="*/ 190 h 271"/>
                  <a:gd name="T20" fmla="*/ 401 w 402"/>
                  <a:gd name="T21" fmla="*/ 269 h 271"/>
                  <a:gd name="T22" fmla="*/ 253 w 402"/>
                  <a:gd name="T23" fmla="*/ 268 h 271"/>
                  <a:gd name="T24" fmla="*/ 181 w 402"/>
                  <a:gd name="T25" fmla="*/ 231 h 271"/>
                  <a:gd name="T26" fmla="*/ 9 w 402"/>
                  <a:gd name="T27" fmla="*/ 145 h 271"/>
                  <a:gd name="T28" fmla="*/ 133 w 402"/>
                  <a:gd name="T29" fmla="*/ 208 h 271"/>
                  <a:gd name="T30" fmla="*/ 134 w 402"/>
                  <a:gd name="T31" fmla="*/ 208 h 271"/>
                  <a:gd name="T32" fmla="*/ 178 w 402"/>
                  <a:gd name="T33" fmla="*/ 231 h 271"/>
                  <a:gd name="T34" fmla="*/ 257 w 402"/>
                  <a:gd name="T35" fmla="*/ 265 h 271"/>
                  <a:gd name="T36" fmla="*/ 398 w 402"/>
                  <a:gd name="T37" fmla="*/ 192 h 271"/>
                  <a:gd name="T38" fmla="*/ 205 w 402"/>
                  <a:gd name="T39" fmla="*/ 218 h 271"/>
                  <a:gd name="T40" fmla="*/ 398 w 402"/>
                  <a:gd name="T41" fmla="*/ 190 h 271"/>
                  <a:gd name="T42" fmla="*/ 205 w 402"/>
                  <a:gd name="T43" fmla="*/ 218 h 271"/>
                  <a:gd name="T44" fmla="*/ 246 w 402"/>
                  <a:gd name="T45" fmla="*/ 262 h 271"/>
                  <a:gd name="T46" fmla="*/ 184 w 402"/>
                  <a:gd name="T47" fmla="*/ 230 h 271"/>
                  <a:gd name="T48" fmla="*/ 181 w 402"/>
                  <a:gd name="T49" fmla="*/ 228 h 271"/>
                  <a:gd name="T50" fmla="*/ 148 w 402"/>
                  <a:gd name="T51" fmla="*/ 165 h 271"/>
                  <a:gd name="T52" fmla="*/ 148 w 402"/>
                  <a:gd name="T53" fmla="*/ 162 h 271"/>
                  <a:gd name="T54" fmla="*/ 357 w 402"/>
                  <a:gd name="T55" fmla="*/ 123 h 271"/>
                  <a:gd name="T56" fmla="*/ 158 w 402"/>
                  <a:gd name="T57" fmla="*/ 126 h 271"/>
                  <a:gd name="T58" fmla="*/ 9 w 402"/>
                  <a:gd name="T59" fmla="*/ 142 h 271"/>
                  <a:gd name="T60" fmla="*/ 145 w 402"/>
                  <a:gd name="T61" fmla="*/ 162 h 271"/>
                  <a:gd name="T62" fmla="*/ 9 w 402"/>
                  <a:gd name="T63" fmla="*/ 142 h 271"/>
                  <a:gd name="T64" fmla="*/ 398 w 402"/>
                  <a:gd name="T65" fmla="*/ 186 h 271"/>
                  <a:gd name="T66" fmla="*/ 361 w 402"/>
                  <a:gd name="T67" fmla="*/ 123 h 271"/>
                  <a:gd name="T68" fmla="*/ 146 w 402"/>
                  <a:gd name="T69" fmla="*/ 159 h 271"/>
                  <a:gd name="T70" fmla="*/ 115 w 402"/>
                  <a:gd name="T71" fmla="*/ 130 h 271"/>
                  <a:gd name="T72" fmla="*/ 9 w 402"/>
                  <a:gd name="T73" fmla="*/ 139 h 271"/>
                  <a:gd name="T74" fmla="*/ 74 w 402"/>
                  <a:gd name="T75" fmla="*/ 93 h 271"/>
                  <a:gd name="T76" fmla="*/ 114 w 402"/>
                  <a:gd name="T77" fmla="*/ 129 h 271"/>
                  <a:gd name="T78" fmla="*/ 175 w 402"/>
                  <a:gd name="T79" fmla="*/ 57 h 271"/>
                  <a:gd name="T80" fmla="*/ 76 w 402"/>
                  <a:gd name="T81" fmla="*/ 92 h 271"/>
                  <a:gd name="T82" fmla="*/ 159 w 402"/>
                  <a:gd name="T83" fmla="*/ 124 h 271"/>
                  <a:gd name="T84" fmla="*/ 339 w 402"/>
                  <a:gd name="T85" fmla="*/ 91 h 271"/>
                  <a:gd name="T86" fmla="*/ 351 w 402"/>
                  <a:gd name="T87" fmla="*/ 107 h 271"/>
                  <a:gd name="T88" fmla="*/ 389 w 402"/>
                  <a:gd name="T89" fmla="*/ 104 h 271"/>
                  <a:gd name="T90" fmla="*/ 342 w 402"/>
                  <a:gd name="T91" fmla="*/ 92 h 271"/>
                  <a:gd name="T92" fmla="*/ 386 w 402"/>
                  <a:gd name="T93" fmla="*/ 101 h 271"/>
                  <a:gd name="T94" fmla="*/ 341 w 402"/>
                  <a:gd name="T95" fmla="*/ 89 h 271"/>
                  <a:gd name="T96" fmla="*/ 291 w 402"/>
                  <a:gd name="T97" fmla="*/ 7 h 271"/>
                  <a:gd name="T98" fmla="*/ 4 w 402"/>
                  <a:gd name="T99" fmla="*/ 20 h 271"/>
                  <a:gd name="T100" fmla="*/ 134 w 402"/>
                  <a:gd name="T101" fmla="*/ 48 h 271"/>
                  <a:gd name="T102" fmla="*/ 140 w 402"/>
                  <a:gd name="T103" fmla="*/ 47 h 271"/>
                  <a:gd name="T104" fmla="*/ 189 w 402"/>
                  <a:gd name="T105" fmla="*/ 13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02" h="271">
                    <a:moveTo>
                      <a:pt x="115" y="271"/>
                    </a:moveTo>
                    <a:lnTo>
                      <a:pt x="115" y="271"/>
                    </a:lnTo>
                    <a:lnTo>
                      <a:pt x="114" y="271"/>
                    </a:lnTo>
                    <a:lnTo>
                      <a:pt x="3" y="142"/>
                    </a:lnTo>
                    <a:lnTo>
                      <a:pt x="4" y="140"/>
                    </a:lnTo>
                    <a:lnTo>
                      <a:pt x="3" y="140"/>
                    </a:lnTo>
                    <a:lnTo>
                      <a:pt x="73" y="91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137" y="45"/>
                    </a:lnTo>
                    <a:lnTo>
                      <a:pt x="190" y="9"/>
                    </a:lnTo>
                    <a:lnTo>
                      <a:pt x="191" y="10"/>
                    </a:lnTo>
                    <a:lnTo>
                      <a:pt x="178" y="54"/>
                    </a:lnTo>
                    <a:lnTo>
                      <a:pt x="336" y="88"/>
                    </a:lnTo>
                    <a:lnTo>
                      <a:pt x="285" y="1"/>
                    </a:lnTo>
                    <a:lnTo>
                      <a:pt x="287" y="0"/>
                    </a:lnTo>
                    <a:lnTo>
                      <a:pt x="395" y="101"/>
                    </a:lnTo>
                    <a:lnTo>
                      <a:pt x="395" y="101"/>
                    </a:lnTo>
                    <a:lnTo>
                      <a:pt x="395" y="101"/>
                    </a:lnTo>
                    <a:lnTo>
                      <a:pt x="401" y="190"/>
                    </a:lnTo>
                    <a:lnTo>
                      <a:pt x="402" y="268"/>
                    </a:lnTo>
                    <a:lnTo>
                      <a:pt x="401" y="269"/>
                    </a:lnTo>
                    <a:lnTo>
                      <a:pt x="253" y="268"/>
                    </a:lnTo>
                    <a:lnTo>
                      <a:pt x="253" y="268"/>
                    </a:lnTo>
                    <a:lnTo>
                      <a:pt x="253" y="268"/>
                    </a:lnTo>
                    <a:lnTo>
                      <a:pt x="181" y="231"/>
                    </a:lnTo>
                    <a:lnTo>
                      <a:pt x="115" y="271"/>
                    </a:lnTo>
                    <a:close/>
                    <a:moveTo>
                      <a:pt x="9" y="145"/>
                    </a:moveTo>
                    <a:lnTo>
                      <a:pt x="115" y="268"/>
                    </a:lnTo>
                    <a:lnTo>
                      <a:pt x="133" y="208"/>
                    </a:lnTo>
                    <a:lnTo>
                      <a:pt x="9" y="145"/>
                    </a:lnTo>
                    <a:close/>
                    <a:moveTo>
                      <a:pt x="134" y="208"/>
                    </a:moveTo>
                    <a:lnTo>
                      <a:pt x="117" y="268"/>
                    </a:lnTo>
                    <a:lnTo>
                      <a:pt x="178" y="231"/>
                    </a:lnTo>
                    <a:lnTo>
                      <a:pt x="134" y="208"/>
                    </a:lnTo>
                    <a:close/>
                    <a:moveTo>
                      <a:pt x="257" y="265"/>
                    </a:moveTo>
                    <a:lnTo>
                      <a:pt x="399" y="268"/>
                    </a:lnTo>
                    <a:lnTo>
                      <a:pt x="398" y="192"/>
                    </a:lnTo>
                    <a:lnTo>
                      <a:pt x="257" y="265"/>
                    </a:lnTo>
                    <a:close/>
                    <a:moveTo>
                      <a:pt x="205" y="218"/>
                    </a:moveTo>
                    <a:lnTo>
                      <a:pt x="253" y="265"/>
                    </a:lnTo>
                    <a:lnTo>
                      <a:pt x="398" y="190"/>
                    </a:lnTo>
                    <a:lnTo>
                      <a:pt x="358" y="124"/>
                    </a:lnTo>
                    <a:lnTo>
                      <a:pt x="205" y="218"/>
                    </a:lnTo>
                    <a:close/>
                    <a:moveTo>
                      <a:pt x="184" y="230"/>
                    </a:moveTo>
                    <a:lnTo>
                      <a:pt x="246" y="262"/>
                    </a:lnTo>
                    <a:lnTo>
                      <a:pt x="202" y="219"/>
                    </a:lnTo>
                    <a:lnTo>
                      <a:pt x="184" y="230"/>
                    </a:lnTo>
                    <a:close/>
                    <a:moveTo>
                      <a:pt x="136" y="206"/>
                    </a:moveTo>
                    <a:lnTo>
                      <a:pt x="181" y="228"/>
                    </a:lnTo>
                    <a:lnTo>
                      <a:pt x="200" y="216"/>
                    </a:lnTo>
                    <a:lnTo>
                      <a:pt x="148" y="165"/>
                    </a:lnTo>
                    <a:lnTo>
                      <a:pt x="136" y="206"/>
                    </a:lnTo>
                    <a:close/>
                    <a:moveTo>
                      <a:pt x="148" y="162"/>
                    </a:moveTo>
                    <a:lnTo>
                      <a:pt x="203" y="215"/>
                    </a:lnTo>
                    <a:lnTo>
                      <a:pt x="357" y="123"/>
                    </a:lnTo>
                    <a:lnTo>
                      <a:pt x="348" y="107"/>
                    </a:lnTo>
                    <a:lnTo>
                      <a:pt x="158" y="126"/>
                    </a:lnTo>
                    <a:lnTo>
                      <a:pt x="148" y="162"/>
                    </a:lnTo>
                    <a:close/>
                    <a:moveTo>
                      <a:pt x="9" y="142"/>
                    </a:moveTo>
                    <a:lnTo>
                      <a:pt x="133" y="205"/>
                    </a:lnTo>
                    <a:lnTo>
                      <a:pt x="145" y="162"/>
                    </a:lnTo>
                    <a:lnTo>
                      <a:pt x="112" y="132"/>
                    </a:lnTo>
                    <a:lnTo>
                      <a:pt x="9" y="142"/>
                    </a:lnTo>
                    <a:close/>
                    <a:moveTo>
                      <a:pt x="361" y="123"/>
                    </a:moveTo>
                    <a:lnTo>
                      <a:pt x="398" y="186"/>
                    </a:lnTo>
                    <a:lnTo>
                      <a:pt x="393" y="104"/>
                    </a:lnTo>
                    <a:lnTo>
                      <a:pt x="361" y="123"/>
                    </a:lnTo>
                    <a:close/>
                    <a:moveTo>
                      <a:pt x="115" y="130"/>
                    </a:moveTo>
                    <a:lnTo>
                      <a:pt x="146" y="159"/>
                    </a:lnTo>
                    <a:lnTo>
                      <a:pt x="155" y="127"/>
                    </a:lnTo>
                    <a:lnTo>
                      <a:pt x="115" y="130"/>
                    </a:lnTo>
                    <a:close/>
                    <a:moveTo>
                      <a:pt x="74" y="93"/>
                    </a:moveTo>
                    <a:lnTo>
                      <a:pt x="9" y="139"/>
                    </a:lnTo>
                    <a:lnTo>
                      <a:pt x="111" y="129"/>
                    </a:lnTo>
                    <a:lnTo>
                      <a:pt x="74" y="93"/>
                    </a:lnTo>
                    <a:close/>
                    <a:moveTo>
                      <a:pt x="76" y="92"/>
                    </a:moveTo>
                    <a:lnTo>
                      <a:pt x="114" y="129"/>
                    </a:lnTo>
                    <a:lnTo>
                      <a:pt x="156" y="124"/>
                    </a:lnTo>
                    <a:lnTo>
                      <a:pt x="175" y="57"/>
                    </a:lnTo>
                    <a:lnTo>
                      <a:pt x="137" y="48"/>
                    </a:lnTo>
                    <a:lnTo>
                      <a:pt x="76" y="92"/>
                    </a:lnTo>
                    <a:close/>
                    <a:moveTo>
                      <a:pt x="178" y="57"/>
                    </a:moveTo>
                    <a:lnTo>
                      <a:pt x="159" y="124"/>
                    </a:lnTo>
                    <a:lnTo>
                      <a:pt x="347" y="105"/>
                    </a:lnTo>
                    <a:lnTo>
                      <a:pt x="339" y="91"/>
                    </a:lnTo>
                    <a:lnTo>
                      <a:pt x="178" y="57"/>
                    </a:lnTo>
                    <a:close/>
                    <a:moveTo>
                      <a:pt x="351" y="107"/>
                    </a:moveTo>
                    <a:lnTo>
                      <a:pt x="360" y="121"/>
                    </a:lnTo>
                    <a:lnTo>
                      <a:pt x="389" y="104"/>
                    </a:lnTo>
                    <a:lnTo>
                      <a:pt x="351" y="107"/>
                    </a:lnTo>
                    <a:close/>
                    <a:moveTo>
                      <a:pt x="342" y="92"/>
                    </a:moveTo>
                    <a:lnTo>
                      <a:pt x="349" y="105"/>
                    </a:lnTo>
                    <a:lnTo>
                      <a:pt x="386" y="101"/>
                    </a:lnTo>
                    <a:lnTo>
                      <a:pt x="342" y="92"/>
                    </a:lnTo>
                    <a:close/>
                    <a:moveTo>
                      <a:pt x="341" y="89"/>
                    </a:moveTo>
                    <a:lnTo>
                      <a:pt x="390" y="99"/>
                    </a:lnTo>
                    <a:lnTo>
                      <a:pt x="291" y="7"/>
                    </a:lnTo>
                    <a:lnTo>
                      <a:pt x="341" y="89"/>
                    </a:lnTo>
                    <a:close/>
                    <a:moveTo>
                      <a:pt x="4" y="20"/>
                    </a:moveTo>
                    <a:lnTo>
                      <a:pt x="74" y="89"/>
                    </a:lnTo>
                    <a:lnTo>
                      <a:pt x="134" y="48"/>
                    </a:lnTo>
                    <a:lnTo>
                      <a:pt x="4" y="20"/>
                    </a:lnTo>
                    <a:close/>
                    <a:moveTo>
                      <a:pt x="140" y="47"/>
                    </a:moveTo>
                    <a:lnTo>
                      <a:pt x="177" y="54"/>
                    </a:lnTo>
                    <a:lnTo>
                      <a:pt x="189" y="13"/>
                    </a:lnTo>
                    <a:lnTo>
                      <a:pt x="140" y="47"/>
                    </a:lnTo>
                    <a:close/>
                  </a:path>
                </a:pathLst>
              </a:custGeom>
              <a:solidFill>
                <a:srgbClr val="989898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3" name="Freeform 3938">
                <a:extLst>
                  <a:ext uri="{FF2B5EF4-FFF2-40B4-BE49-F238E27FC236}">
                    <a16:creationId xmlns:a16="http://schemas.microsoft.com/office/drawing/2014/main" id="{80429123-178B-41D3-92E2-FC449278C1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39127" y="75847"/>
                <a:ext cx="1383530" cy="1069355"/>
              </a:xfrm>
              <a:custGeom>
                <a:avLst/>
                <a:gdLst>
                  <a:gd name="T0" fmla="*/ 265 w 480"/>
                  <a:gd name="T1" fmla="*/ 371 h 371"/>
                  <a:gd name="T2" fmla="*/ 263 w 480"/>
                  <a:gd name="T3" fmla="*/ 371 h 371"/>
                  <a:gd name="T4" fmla="*/ 227 w 480"/>
                  <a:gd name="T5" fmla="*/ 331 h 371"/>
                  <a:gd name="T6" fmla="*/ 7 w 480"/>
                  <a:gd name="T7" fmla="*/ 364 h 371"/>
                  <a:gd name="T8" fmla="*/ 6 w 480"/>
                  <a:gd name="T9" fmla="*/ 362 h 371"/>
                  <a:gd name="T10" fmla="*/ 98 w 480"/>
                  <a:gd name="T11" fmla="*/ 295 h 371"/>
                  <a:gd name="T12" fmla="*/ 1 w 480"/>
                  <a:gd name="T13" fmla="*/ 295 h 371"/>
                  <a:gd name="T14" fmla="*/ 0 w 480"/>
                  <a:gd name="T15" fmla="*/ 292 h 371"/>
                  <a:gd name="T16" fmla="*/ 155 w 480"/>
                  <a:gd name="T17" fmla="*/ 252 h 371"/>
                  <a:gd name="T18" fmla="*/ 39 w 480"/>
                  <a:gd name="T19" fmla="*/ 2 h 371"/>
                  <a:gd name="T20" fmla="*/ 42 w 480"/>
                  <a:gd name="T21" fmla="*/ 0 h 371"/>
                  <a:gd name="T22" fmla="*/ 158 w 480"/>
                  <a:gd name="T23" fmla="*/ 252 h 371"/>
                  <a:gd name="T24" fmla="*/ 194 w 480"/>
                  <a:gd name="T25" fmla="*/ 292 h 371"/>
                  <a:gd name="T26" fmla="*/ 358 w 480"/>
                  <a:gd name="T27" fmla="*/ 292 h 371"/>
                  <a:gd name="T28" fmla="*/ 292 w 480"/>
                  <a:gd name="T29" fmla="*/ 251 h 371"/>
                  <a:gd name="T30" fmla="*/ 294 w 480"/>
                  <a:gd name="T31" fmla="*/ 248 h 371"/>
                  <a:gd name="T32" fmla="*/ 469 w 480"/>
                  <a:gd name="T33" fmla="*/ 293 h 371"/>
                  <a:gd name="T34" fmla="*/ 469 w 480"/>
                  <a:gd name="T35" fmla="*/ 293 h 371"/>
                  <a:gd name="T36" fmla="*/ 469 w 480"/>
                  <a:gd name="T37" fmla="*/ 295 h 371"/>
                  <a:gd name="T38" fmla="*/ 404 w 480"/>
                  <a:gd name="T39" fmla="*/ 320 h 371"/>
                  <a:gd name="T40" fmla="*/ 480 w 480"/>
                  <a:gd name="T41" fmla="*/ 368 h 371"/>
                  <a:gd name="T42" fmla="*/ 478 w 480"/>
                  <a:gd name="T43" fmla="*/ 369 h 371"/>
                  <a:gd name="T44" fmla="*/ 401 w 480"/>
                  <a:gd name="T45" fmla="*/ 321 h 371"/>
                  <a:gd name="T46" fmla="*/ 265 w 480"/>
                  <a:gd name="T47" fmla="*/ 371 h 371"/>
                  <a:gd name="T48" fmla="*/ 230 w 480"/>
                  <a:gd name="T49" fmla="*/ 331 h 371"/>
                  <a:gd name="T50" fmla="*/ 265 w 480"/>
                  <a:gd name="T51" fmla="*/ 368 h 371"/>
                  <a:gd name="T52" fmla="*/ 399 w 480"/>
                  <a:gd name="T53" fmla="*/ 318 h 371"/>
                  <a:gd name="T54" fmla="*/ 382 w 480"/>
                  <a:gd name="T55" fmla="*/ 308 h 371"/>
                  <a:gd name="T56" fmla="*/ 230 w 480"/>
                  <a:gd name="T57" fmla="*/ 331 h 371"/>
                  <a:gd name="T58" fmla="*/ 101 w 480"/>
                  <a:gd name="T59" fmla="*/ 295 h 371"/>
                  <a:gd name="T60" fmla="*/ 12 w 480"/>
                  <a:gd name="T61" fmla="*/ 361 h 371"/>
                  <a:gd name="T62" fmla="*/ 225 w 480"/>
                  <a:gd name="T63" fmla="*/ 328 h 371"/>
                  <a:gd name="T64" fmla="*/ 193 w 480"/>
                  <a:gd name="T65" fmla="*/ 295 h 371"/>
                  <a:gd name="T66" fmla="*/ 101 w 480"/>
                  <a:gd name="T67" fmla="*/ 295 h 371"/>
                  <a:gd name="T68" fmla="*/ 196 w 480"/>
                  <a:gd name="T69" fmla="*/ 295 h 371"/>
                  <a:gd name="T70" fmla="*/ 228 w 480"/>
                  <a:gd name="T71" fmla="*/ 328 h 371"/>
                  <a:gd name="T72" fmla="*/ 379 w 480"/>
                  <a:gd name="T73" fmla="*/ 306 h 371"/>
                  <a:gd name="T74" fmla="*/ 361 w 480"/>
                  <a:gd name="T75" fmla="*/ 295 h 371"/>
                  <a:gd name="T76" fmla="*/ 196 w 480"/>
                  <a:gd name="T77" fmla="*/ 295 h 371"/>
                  <a:gd name="T78" fmla="*/ 386 w 480"/>
                  <a:gd name="T79" fmla="*/ 308 h 371"/>
                  <a:gd name="T80" fmla="*/ 402 w 480"/>
                  <a:gd name="T81" fmla="*/ 318 h 371"/>
                  <a:gd name="T82" fmla="*/ 458 w 480"/>
                  <a:gd name="T83" fmla="*/ 296 h 371"/>
                  <a:gd name="T84" fmla="*/ 386 w 480"/>
                  <a:gd name="T85" fmla="*/ 308 h 371"/>
                  <a:gd name="T86" fmla="*/ 367 w 480"/>
                  <a:gd name="T87" fmla="*/ 295 h 371"/>
                  <a:gd name="T88" fmla="*/ 383 w 480"/>
                  <a:gd name="T89" fmla="*/ 305 h 371"/>
                  <a:gd name="T90" fmla="*/ 453 w 480"/>
                  <a:gd name="T91" fmla="*/ 295 h 371"/>
                  <a:gd name="T92" fmla="*/ 367 w 480"/>
                  <a:gd name="T93" fmla="*/ 295 h 371"/>
                  <a:gd name="T94" fmla="*/ 363 w 480"/>
                  <a:gd name="T95" fmla="*/ 292 h 371"/>
                  <a:gd name="T96" fmla="*/ 459 w 480"/>
                  <a:gd name="T97" fmla="*/ 293 h 371"/>
                  <a:gd name="T98" fmla="*/ 301 w 480"/>
                  <a:gd name="T99" fmla="*/ 252 h 371"/>
                  <a:gd name="T100" fmla="*/ 363 w 480"/>
                  <a:gd name="T101" fmla="*/ 292 h 371"/>
                  <a:gd name="T102" fmla="*/ 105 w 480"/>
                  <a:gd name="T103" fmla="*/ 292 h 371"/>
                  <a:gd name="T104" fmla="*/ 192 w 480"/>
                  <a:gd name="T105" fmla="*/ 292 h 371"/>
                  <a:gd name="T106" fmla="*/ 156 w 480"/>
                  <a:gd name="T107" fmla="*/ 255 h 371"/>
                  <a:gd name="T108" fmla="*/ 105 w 480"/>
                  <a:gd name="T109" fmla="*/ 292 h 371"/>
                  <a:gd name="T110" fmla="*/ 10 w 480"/>
                  <a:gd name="T111" fmla="*/ 292 h 371"/>
                  <a:gd name="T112" fmla="*/ 101 w 480"/>
                  <a:gd name="T113" fmla="*/ 292 h 371"/>
                  <a:gd name="T114" fmla="*/ 151 w 480"/>
                  <a:gd name="T115" fmla="*/ 257 h 371"/>
                  <a:gd name="T116" fmla="*/ 10 w 480"/>
                  <a:gd name="T117" fmla="*/ 292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80" h="371">
                    <a:moveTo>
                      <a:pt x="265" y="371"/>
                    </a:moveTo>
                    <a:lnTo>
                      <a:pt x="263" y="371"/>
                    </a:lnTo>
                    <a:lnTo>
                      <a:pt x="227" y="331"/>
                    </a:lnTo>
                    <a:lnTo>
                      <a:pt x="7" y="364"/>
                    </a:lnTo>
                    <a:lnTo>
                      <a:pt x="6" y="362"/>
                    </a:lnTo>
                    <a:lnTo>
                      <a:pt x="98" y="295"/>
                    </a:lnTo>
                    <a:lnTo>
                      <a:pt x="1" y="295"/>
                    </a:lnTo>
                    <a:lnTo>
                      <a:pt x="0" y="292"/>
                    </a:lnTo>
                    <a:lnTo>
                      <a:pt x="155" y="252"/>
                    </a:lnTo>
                    <a:lnTo>
                      <a:pt x="39" y="2"/>
                    </a:lnTo>
                    <a:lnTo>
                      <a:pt x="42" y="0"/>
                    </a:lnTo>
                    <a:lnTo>
                      <a:pt x="158" y="252"/>
                    </a:lnTo>
                    <a:lnTo>
                      <a:pt x="194" y="292"/>
                    </a:lnTo>
                    <a:lnTo>
                      <a:pt x="358" y="292"/>
                    </a:lnTo>
                    <a:lnTo>
                      <a:pt x="292" y="251"/>
                    </a:lnTo>
                    <a:lnTo>
                      <a:pt x="294" y="248"/>
                    </a:lnTo>
                    <a:lnTo>
                      <a:pt x="469" y="293"/>
                    </a:lnTo>
                    <a:lnTo>
                      <a:pt x="469" y="293"/>
                    </a:lnTo>
                    <a:lnTo>
                      <a:pt x="469" y="295"/>
                    </a:lnTo>
                    <a:lnTo>
                      <a:pt x="404" y="320"/>
                    </a:lnTo>
                    <a:lnTo>
                      <a:pt x="480" y="368"/>
                    </a:lnTo>
                    <a:lnTo>
                      <a:pt x="478" y="369"/>
                    </a:lnTo>
                    <a:lnTo>
                      <a:pt x="401" y="321"/>
                    </a:lnTo>
                    <a:lnTo>
                      <a:pt x="265" y="371"/>
                    </a:lnTo>
                    <a:close/>
                    <a:moveTo>
                      <a:pt x="230" y="331"/>
                    </a:moveTo>
                    <a:lnTo>
                      <a:pt x="265" y="368"/>
                    </a:lnTo>
                    <a:lnTo>
                      <a:pt x="399" y="318"/>
                    </a:lnTo>
                    <a:lnTo>
                      <a:pt x="382" y="308"/>
                    </a:lnTo>
                    <a:lnTo>
                      <a:pt x="230" y="331"/>
                    </a:lnTo>
                    <a:close/>
                    <a:moveTo>
                      <a:pt x="101" y="295"/>
                    </a:moveTo>
                    <a:lnTo>
                      <a:pt x="12" y="361"/>
                    </a:lnTo>
                    <a:lnTo>
                      <a:pt x="225" y="328"/>
                    </a:lnTo>
                    <a:lnTo>
                      <a:pt x="193" y="295"/>
                    </a:lnTo>
                    <a:lnTo>
                      <a:pt x="101" y="295"/>
                    </a:lnTo>
                    <a:close/>
                    <a:moveTo>
                      <a:pt x="196" y="295"/>
                    </a:moveTo>
                    <a:lnTo>
                      <a:pt x="228" y="328"/>
                    </a:lnTo>
                    <a:lnTo>
                      <a:pt x="379" y="306"/>
                    </a:lnTo>
                    <a:lnTo>
                      <a:pt x="361" y="295"/>
                    </a:lnTo>
                    <a:lnTo>
                      <a:pt x="196" y="295"/>
                    </a:lnTo>
                    <a:close/>
                    <a:moveTo>
                      <a:pt x="386" y="308"/>
                    </a:moveTo>
                    <a:lnTo>
                      <a:pt x="402" y="318"/>
                    </a:lnTo>
                    <a:lnTo>
                      <a:pt x="458" y="296"/>
                    </a:lnTo>
                    <a:lnTo>
                      <a:pt x="386" y="308"/>
                    </a:lnTo>
                    <a:close/>
                    <a:moveTo>
                      <a:pt x="367" y="295"/>
                    </a:moveTo>
                    <a:lnTo>
                      <a:pt x="383" y="305"/>
                    </a:lnTo>
                    <a:lnTo>
                      <a:pt x="453" y="295"/>
                    </a:lnTo>
                    <a:lnTo>
                      <a:pt x="367" y="295"/>
                    </a:lnTo>
                    <a:close/>
                    <a:moveTo>
                      <a:pt x="363" y="292"/>
                    </a:moveTo>
                    <a:lnTo>
                      <a:pt x="459" y="293"/>
                    </a:lnTo>
                    <a:lnTo>
                      <a:pt x="301" y="252"/>
                    </a:lnTo>
                    <a:lnTo>
                      <a:pt x="363" y="292"/>
                    </a:lnTo>
                    <a:close/>
                    <a:moveTo>
                      <a:pt x="105" y="292"/>
                    </a:moveTo>
                    <a:lnTo>
                      <a:pt x="192" y="292"/>
                    </a:lnTo>
                    <a:lnTo>
                      <a:pt x="156" y="255"/>
                    </a:lnTo>
                    <a:lnTo>
                      <a:pt x="105" y="292"/>
                    </a:lnTo>
                    <a:close/>
                    <a:moveTo>
                      <a:pt x="10" y="292"/>
                    </a:moveTo>
                    <a:lnTo>
                      <a:pt x="101" y="292"/>
                    </a:lnTo>
                    <a:lnTo>
                      <a:pt x="151" y="257"/>
                    </a:lnTo>
                    <a:lnTo>
                      <a:pt x="10" y="292"/>
                    </a:lnTo>
                    <a:close/>
                  </a:path>
                </a:pathLst>
              </a:custGeom>
              <a:solidFill>
                <a:srgbClr val="989898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4" name="Freeform 3939">
                <a:extLst>
                  <a:ext uri="{FF2B5EF4-FFF2-40B4-BE49-F238E27FC236}">
                    <a16:creationId xmlns:a16="http://schemas.microsoft.com/office/drawing/2014/main" id="{9AAB2807-C684-4FD1-817A-E581F60607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58656" y="790671"/>
                <a:ext cx="2210767" cy="3997830"/>
              </a:xfrm>
              <a:custGeom>
                <a:avLst/>
                <a:gdLst>
                  <a:gd name="T0" fmla="*/ 152 w 767"/>
                  <a:gd name="T1" fmla="*/ 725 h 1387"/>
                  <a:gd name="T2" fmla="*/ 170 w 767"/>
                  <a:gd name="T3" fmla="*/ 253 h 1387"/>
                  <a:gd name="T4" fmla="*/ 698 w 767"/>
                  <a:gd name="T5" fmla="*/ 41 h 1387"/>
                  <a:gd name="T6" fmla="*/ 629 w 767"/>
                  <a:gd name="T7" fmla="*/ 596 h 1387"/>
                  <a:gd name="T8" fmla="*/ 265 w 767"/>
                  <a:gd name="T9" fmla="*/ 1347 h 1387"/>
                  <a:gd name="T10" fmla="*/ 473 w 767"/>
                  <a:gd name="T11" fmla="*/ 1062 h 1387"/>
                  <a:gd name="T12" fmla="*/ 711 w 767"/>
                  <a:gd name="T13" fmla="*/ 1138 h 1387"/>
                  <a:gd name="T14" fmla="*/ 568 w 767"/>
                  <a:gd name="T15" fmla="*/ 1092 h 1387"/>
                  <a:gd name="T16" fmla="*/ 151 w 767"/>
                  <a:gd name="T17" fmla="*/ 1149 h 1387"/>
                  <a:gd name="T18" fmla="*/ 710 w 767"/>
                  <a:gd name="T19" fmla="*/ 1135 h 1387"/>
                  <a:gd name="T20" fmla="*/ 566 w 767"/>
                  <a:gd name="T21" fmla="*/ 1089 h 1387"/>
                  <a:gd name="T22" fmla="*/ 416 w 767"/>
                  <a:gd name="T23" fmla="*/ 987 h 1387"/>
                  <a:gd name="T24" fmla="*/ 6 w 767"/>
                  <a:gd name="T25" fmla="*/ 1060 h 1387"/>
                  <a:gd name="T26" fmla="*/ 205 w 767"/>
                  <a:gd name="T27" fmla="*/ 1037 h 1387"/>
                  <a:gd name="T28" fmla="*/ 419 w 767"/>
                  <a:gd name="T29" fmla="*/ 867 h 1387"/>
                  <a:gd name="T30" fmla="*/ 256 w 767"/>
                  <a:gd name="T31" fmla="*/ 896 h 1387"/>
                  <a:gd name="T32" fmla="*/ 568 w 767"/>
                  <a:gd name="T33" fmla="*/ 865 h 1387"/>
                  <a:gd name="T34" fmla="*/ 417 w 767"/>
                  <a:gd name="T35" fmla="*/ 865 h 1387"/>
                  <a:gd name="T36" fmla="*/ 565 w 767"/>
                  <a:gd name="T37" fmla="*/ 748 h 1387"/>
                  <a:gd name="T38" fmla="*/ 359 w 767"/>
                  <a:gd name="T39" fmla="*/ 613 h 1387"/>
                  <a:gd name="T40" fmla="*/ 562 w 767"/>
                  <a:gd name="T41" fmla="*/ 747 h 1387"/>
                  <a:gd name="T42" fmla="*/ 609 w 767"/>
                  <a:gd name="T43" fmla="*/ 712 h 1387"/>
                  <a:gd name="T44" fmla="*/ 639 w 767"/>
                  <a:gd name="T45" fmla="*/ 671 h 1387"/>
                  <a:gd name="T46" fmla="*/ 479 w 767"/>
                  <a:gd name="T47" fmla="*/ 647 h 1387"/>
                  <a:gd name="T48" fmla="*/ 303 w 767"/>
                  <a:gd name="T49" fmla="*/ 635 h 1387"/>
                  <a:gd name="T50" fmla="*/ 256 w 767"/>
                  <a:gd name="T51" fmla="*/ 621 h 1387"/>
                  <a:gd name="T52" fmla="*/ 344 w 767"/>
                  <a:gd name="T53" fmla="*/ 603 h 1387"/>
                  <a:gd name="T54" fmla="*/ 341 w 767"/>
                  <a:gd name="T55" fmla="*/ 596 h 1387"/>
                  <a:gd name="T56" fmla="*/ 503 w 767"/>
                  <a:gd name="T57" fmla="*/ 575 h 1387"/>
                  <a:gd name="T58" fmla="*/ 372 w 767"/>
                  <a:gd name="T59" fmla="*/ 569 h 1387"/>
                  <a:gd name="T60" fmla="*/ 423 w 767"/>
                  <a:gd name="T61" fmla="*/ 523 h 1387"/>
                  <a:gd name="T62" fmla="*/ 148 w 767"/>
                  <a:gd name="T63" fmla="*/ 470 h 1387"/>
                  <a:gd name="T64" fmla="*/ 420 w 767"/>
                  <a:gd name="T65" fmla="*/ 521 h 1387"/>
                  <a:gd name="T66" fmla="*/ 520 w 767"/>
                  <a:gd name="T67" fmla="*/ 502 h 1387"/>
                  <a:gd name="T68" fmla="*/ 296 w 767"/>
                  <a:gd name="T69" fmla="*/ 495 h 1387"/>
                  <a:gd name="T70" fmla="*/ 607 w 767"/>
                  <a:gd name="T71" fmla="*/ 395 h 1387"/>
                  <a:gd name="T72" fmla="*/ 446 w 767"/>
                  <a:gd name="T73" fmla="*/ 328 h 1387"/>
                  <a:gd name="T74" fmla="*/ 533 w 767"/>
                  <a:gd name="T75" fmla="*/ 405 h 1387"/>
                  <a:gd name="T76" fmla="*/ 204 w 767"/>
                  <a:gd name="T77" fmla="*/ 307 h 1387"/>
                  <a:gd name="T78" fmla="*/ 206 w 767"/>
                  <a:gd name="T79" fmla="*/ 306 h 1387"/>
                  <a:gd name="T80" fmla="*/ 382 w 767"/>
                  <a:gd name="T81" fmla="*/ 287 h 1387"/>
                  <a:gd name="T82" fmla="*/ 509 w 767"/>
                  <a:gd name="T83" fmla="*/ 280 h 1387"/>
                  <a:gd name="T84" fmla="*/ 247 w 767"/>
                  <a:gd name="T85" fmla="*/ 271 h 1387"/>
                  <a:gd name="T86" fmla="*/ 575 w 767"/>
                  <a:gd name="T87" fmla="*/ 271 h 1387"/>
                  <a:gd name="T88" fmla="*/ 489 w 767"/>
                  <a:gd name="T89" fmla="*/ 255 h 1387"/>
                  <a:gd name="T90" fmla="*/ 476 w 767"/>
                  <a:gd name="T91" fmla="*/ 249 h 1387"/>
                  <a:gd name="T92" fmla="*/ 299 w 767"/>
                  <a:gd name="T93" fmla="*/ 244 h 1387"/>
                  <a:gd name="T94" fmla="*/ 452 w 767"/>
                  <a:gd name="T95" fmla="*/ 241 h 1387"/>
                  <a:gd name="T96" fmla="*/ 329 w 767"/>
                  <a:gd name="T97" fmla="*/ 233 h 1387"/>
                  <a:gd name="T98" fmla="*/ 439 w 767"/>
                  <a:gd name="T99" fmla="*/ 234 h 1387"/>
                  <a:gd name="T100" fmla="*/ 305 w 767"/>
                  <a:gd name="T101" fmla="*/ 228 h 1387"/>
                  <a:gd name="T102" fmla="*/ 155 w 767"/>
                  <a:gd name="T103" fmla="*/ 225 h 1387"/>
                  <a:gd name="T104" fmla="*/ 198 w 767"/>
                  <a:gd name="T105" fmla="*/ 209 h 1387"/>
                  <a:gd name="T106" fmla="*/ 344 w 767"/>
                  <a:gd name="T107" fmla="*/ 195 h 1387"/>
                  <a:gd name="T108" fmla="*/ 540 w 767"/>
                  <a:gd name="T109" fmla="*/ 192 h 1387"/>
                  <a:gd name="T110" fmla="*/ 552 w 767"/>
                  <a:gd name="T111" fmla="*/ 165 h 1387"/>
                  <a:gd name="T112" fmla="*/ 443 w 767"/>
                  <a:gd name="T113" fmla="*/ 178 h 1387"/>
                  <a:gd name="T114" fmla="*/ 183 w 767"/>
                  <a:gd name="T115" fmla="*/ 174 h 1387"/>
                  <a:gd name="T116" fmla="*/ 555 w 767"/>
                  <a:gd name="T117" fmla="*/ 158 h 1387"/>
                  <a:gd name="T118" fmla="*/ 502 w 767"/>
                  <a:gd name="T119" fmla="*/ 151 h 1387"/>
                  <a:gd name="T120" fmla="*/ 427 w 767"/>
                  <a:gd name="T121" fmla="*/ 123 h 1387"/>
                  <a:gd name="T122" fmla="*/ 603 w 767"/>
                  <a:gd name="T123" fmla="*/ 44 h 1387"/>
                  <a:gd name="T124" fmla="*/ 536 w 767"/>
                  <a:gd name="T125" fmla="*/ 17 h 1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67" h="1387">
                    <a:moveTo>
                      <a:pt x="392" y="1387"/>
                    </a:moveTo>
                    <a:lnTo>
                      <a:pt x="392" y="1387"/>
                    </a:lnTo>
                    <a:lnTo>
                      <a:pt x="264" y="1350"/>
                    </a:lnTo>
                    <a:lnTo>
                      <a:pt x="161" y="1297"/>
                    </a:lnTo>
                    <a:lnTo>
                      <a:pt x="56" y="1195"/>
                    </a:lnTo>
                    <a:lnTo>
                      <a:pt x="0" y="1069"/>
                    </a:lnTo>
                    <a:lnTo>
                      <a:pt x="2" y="1069"/>
                    </a:lnTo>
                    <a:lnTo>
                      <a:pt x="0" y="1069"/>
                    </a:lnTo>
                    <a:lnTo>
                      <a:pt x="40" y="958"/>
                    </a:lnTo>
                    <a:lnTo>
                      <a:pt x="0" y="939"/>
                    </a:lnTo>
                    <a:lnTo>
                      <a:pt x="0" y="937"/>
                    </a:lnTo>
                    <a:lnTo>
                      <a:pt x="50" y="928"/>
                    </a:lnTo>
                    <a:lnTo>
                      <a:pt x="81" y="840"/>
                    </a:lnTo>
                    <a:lnTo>
                      <a:pt x="82" y="840"/>
                    </a:lnTo>
                    <a:lnTo>
                      <a:pt x="119" y="898"/>
                    </a:lnTo>
                    <a:lnTo>
                      <a:pt x="185" y="801"/>
                    </a:lnTo>
                    <a:lnTo>
                      <a:pt x="152" y="726"/>
                    </a:lnTo>
                    <a:lnTo>
                      <a:pt x="152" y="725"/>
                    </a:lnTo>
                    <a:lnTo>
                      <a:pt x="252" y="622"/>
                    </a:lnTo>
                    <a:lnTo>
                      <a:pt x="130" y="586"/>
                    </a:lnTo>
                    <a:lnTo>
                      <a:pt x="130" y="583"/>
                    </a:lnTo>
                    <a:lnTo>
                      <a:pt x="233" y="528"/>
                    </a:lnTo>
                    <a:lnTo>
                      <a:pt x="145" y="471"/>
                    </a:lnTo>
                    <a:lnTo>
                      <a:pt x="145" y="468"/>
                    </a:lnTo>
                    <a:lnTo>
                      <a:pt x="243" y="429"/>
                    </a:lnTo>
                    <a:lnTo>
                      <a:pt x="230" y="408"/>
                    </a:lnTo>
                    <a:lnTo>
                      <a:pt x="151" y="405"/>
                    </a:lnTo>
                    <a:lnTo>
                      <a:pt x="149" y="404"/>
                    </a:lnTo>
                    <a:lnTo>
                      <a:pt x="202" y="370"/>
                    </a:lnTo>
                    <a:lnTo>
                      <a:pt x="174" y="334"/>
                    </a:lnTo>
                    <a:lnTo>
                      <a:pt x="176" y="332"/>
                    </a:lnTo>
                    <a:lnTo>
                      <a:pt x="174" y="332"/>
                    </a:lnTo>
                    <a:lnTo>
                      <a:pt x="166" y="306"/>
                    </a:lnTo>
                    <a:lnTo>
                      <a:pt x="151" y="278"/>
                    </a:lnTo>
                    <a:lnTo>
                      <a:pt x="151" y="278"/>
                    </a:lnTo>
                    <a:lnTo>
                      <a:pt x="170" y="253"/>
                    </a:lnTo>
                    <a:lnTo>
                      <a:pt x="151" y="227"/>
                    </a:lnTo>
                    <a:lnTo>
                      <a:pt x="151" y="225"/>
                    </a:lnTo>
                    <a:lnTo>
                      <a:pt x="176" y="206"/>
                    </a:lnTo>
                    <a:lnTo>
                      <a:pt x="180" y="176"/>
                    </a:lnTo>
                    <a:lnTo>
                      <a:pt x="161" y="176"/>
                    </a:lnTo>
                    <a:lnTo>
                      <a:pt x="161" y="173"/>
                    </a:lnTo>
                    <a:lnTo>
                      <a:pt x="180" y="170"/>
                    </a:lnTo>
                    <a:lnTo>
                      <a:pt x="186" y="126"/>
                    </a:lnTo>
                    <a:lnTo>
                      <a:pt x="132" y="47"/>
                    </a:lnTo>
                    <a:lnTo>
                      <a:pt x="133" y="45"/>
                    </a:lnTo>
                    <a:lnTo>
                      <a:pt x="187" y="124"/>
                    </a:lnTo>
                    <a:lnTo>
                      <a:pt x="426" y="0"/>
                    </a:lnTo>
                    <a:lnTo>
                      <a:pt x="426" y="1"/>
                    </a:lnTo>
                    <a:lnTo>
                      <a:pt x="426" y="0"/>
                    </a:lnTo>
                    <a:lnTo>
                      <a:pt x="574" y="3"/>
                    </a:lnTo>
                    <a:lnTo>
                      <a:pt x="574" y="3"/>
                    </a:lnTo>
                    <a:lnTo>
                      <a:pt x="610" y="4"/>
                    </a:lnTo>
                    <a:lnTo>
                      <a:pt x="698" y="41"/>
                    </a:lnTo>
                    <a:lnTo>
                      <a:pt x="697" y="44"/>
                    </a:lnTo>
                    <a:lnTo>
                      <a:pt x="603" y="47"/>
                    </a:lnTo>
                    <a:lnTo>
                      <a:pt x="612" y="120"/>
                    </a:lnTo>
                    <a:lnTo>
                      <a:pt x="610" y="121"/>
                    </a:lnTo>
                    <a:lnTo>
                      <a:pt x="568" y="124"/>
                    </a:lnTo>
                    <a:lnTo>
                      <a:pt x="591" y="159"/>
                    </a:lnTo>
                    <a:lnTo>
                      <a:pt x="591" y="161"/>
                    </a:lnTo>
                    <a:lnTo>
                      <a:pt x="571" y="192"/>
                    </a:lnTo>
                    <a:lnTo>
                      <a:pt x="591" y="219"/>
                    </a:lnTo>
                    <a:lnTo>
                      <a:pt x="591" y="221"/>
                    </a:lnTo>
                    <a:lnTo>
                      <a:pt x="575" y="239"/>
                    </a:lnTo>
                    <a:lnTo>
                      <a:pt x="587" y="271"/>
                    </a:lnTo>
                    <a:lnTo>
                      <a:pt x="587" y="272"/>
                    </a:lnTo>
                    <a:lnTo>
                      <a:pt x="572" y="293"/>
                    </a:lnTo>
                    <a:lnTo>
                      <a:pt x="572" y="316"/>
                    </a:lnTo>
                    <a:lnTo>
                      <a:pt x="615" y="392"/>
                    </a:lnTo>
                    <a:lnTo>
                      <a:pt x="615" y="531"/>
                    </a:lnTo>
                    <a:lnTo>
                      <a:pt x="629" y="596"/>
                    </a:lnTo>
                    <a:lnTo>
                      <a:pt x="657" y="669"/>
                    </a:lnTo>
                    <a:lnTo>
                      <a:pt x="707" y="760"/>
                    </a:lnTo>
                    <a:lnTo>
                      <a:pt x="748" y="861"/>
                    </a:lnTo>
                    <a:lnTo>
                      <a:pt x="767" y="941"/>
                    </a:lnTo>
                    <a:lnTo>
                      <a:pt x="761" y="1047"/>
                    </a:lnTo>
                    <a:lnTo>
                      <a:pt x="733" y="1144"/>
                    </a:lnTo>
                    <a:lnTo>
                      <a:pt x="694" y="1223"/>
                    </a:lnTo>
                    <a:lnTo>
                      <a:pt x="618" y="1309"/>
                    </a:lnTo>
                    <a:lnTo>
                      <a:pt x="528" y="1363"/>
                    </a:lnTo>
                    <a:lnTo>
                      <a:pt x="392" y="1387"/>
                    </a:lnTo>
                    <a:close/>
                    <a:moveTo>
                      <a:pt x="274" y="1350"/>
                    </a:moveTo>
                    <a:lnTo>
                      <a:pt x="392" y="1385"/>
                    </a:lnTo>
                    <a:lnTo>
                      <a:pt x="517" y="1362"/>
                    </a:lnTo>
                    <a:lnTo>
                      <a:pt x="274" y="1350"/>
                    </a:lnTo>
                    <a:close/>
                    <a:moveTo>
                      <a:pt x="265" y="1347"/>
                    </a:moveTo>
                    <a:lnTo>
                      <a:pt x="522" y="1360"/>
                    </a:lnTo>
                    <a:lnTo>
                      <a:pt x="284" y="1227"/>
                    </a:lnTo>
                    <a:lnTo>
                      <a:pt x="265" y="1347"/>
                    </a:lnTo>
                    <a:close/>
                    <a:moveTo>
                      <a:pt x="594" y="1214"/>
                    </a:moveTo>
                    <a:lnTo>
                      <a:pt x="530" y="1359"/>
                    </a:lnTo>
                    <a:lnTo>
                      <a:pt x="616" y="1308"/>
                    </a:lnTo>
                    <a:lnTo>
                      <a:pt x="594" y="1214"/>
                    </a:lnTo>
                    <a:close/>
                    <a:moveTo>
                      <a:pt x="284" y="1224"/>
                    </a:moveTo>
                    <a:lnTo>
                      <a:pt x="522" y="1357"/>
                    </a:lnTo>
                    <a:lnTo>
                      <a:pt x="306" y="1075"/>
                    </a:lnTo>
                    <a:lnTo>
                      <a:pt x="284" y="1224"/>
                    </a:lnTo>
                    <a:close/>
                    <a:moveTo>
                      <a:pt x="307" y="1073"/>
                    </a:moveTo>
                    <a:lnTo>
                      <a:pt x="525" y="1357"/>
                    </a:lnTo>
                    <a:lnTo>
                      <a:pt x="470" y="1062"/>
                    </a:lnTo>
                    <a:lnTo>
                      <a:pt x="307" y="1073"/>
                    </a:lnTo>
                    <a:close/>
                    <a:moveTo>
                      <a:pt x="550" y="1086"/>
                    </a:moveTo>
                    <a:lnTo>
                      <a:pt x="530" y="1354"/>
                    </a:lnTo>
                    <a:lnTo>
                      <a:pt x="593" y="1209"/>
                    </a:lnTo>
                    <a:lnTo>
                      <a:pt x="565" y="1091"/>
                    </a:lnTo>
                    <a:lnTo>
                      <a:pt x="550" y="1086"/>
                    </a:lnTo>
                    <a:close/>
                    <a:moveTo>
                      <a:pt x="473" y="1062"/>
                    </a:moveTo>
                    <a:lnTo>
                      <a:pt x="527" y="1353"/>
                    </a:lnTo>
                    <a:lnTo>
                      <a:pt x="547" y="1085"/>
                    </a:lnTo>
                    <a:lnTo>
                      <a:pt x="473" y="1062"/>
                    </a:lnTo>
                    <a:close/>
                    <a:moveTo>
                      <a:pt x="164" y="1296"/>
                    </a:moveTo>
                    <a:lnTo>
                      <a:pt x="264" y="1347"/>
                    </a:lnTo>
                    <a:lnTo>
                      <a:pt x="281" y="1226"/>
                    </a:lnTo>
                    <a:lnTo>
                      <a:pt x="185" y="1171"/>
                    </a:lnTo>
                    <a:lnTo>
                      <a:pt x="164" y="1296"/>
                    </a:lnTo>
                    <a:close/>
                    <a:moveTo>
                      <a:pt x="596" y="1209"/>
                    </a:moveTo>
                    <a:lnTo>
                      <a:pt x="618" y="1305"/>
                    </a:lnTo>
                    <a:lnTo>
                      <a:pt x="708" y="1136"/>
                    </a:lnTo>
                    <a:lnTo>
                      <a:pt x="638" y="1114"/>
                    </a:lnTo>
                    <a:lnTo>
                      <a:pt x="596" y="1209"/>
                    </a:lnTo>
                    <a:close/>
                    <a:moveTo>
                      <a:pt x="711" y="1138"/>
                    </a:moveTo>
                    <a:lnTo>
                      <a:pt x="623" y="1299"/>
                    </a:lnTo>
                    <a:lnTo>
                      <a:pt x="692" y="1221"/>
                    </a:lnTo>
                    <a:lnTo>
                      <a:pt x="730" y="1144"/>
                    </a:lnTo>
                    <a:lnTo>
                      <a:pt x="711" y="1138"/>
                    </a:lnTo>
                    <a:close/>
                    <a:moveTo>
                      <a:pt x="84" y="1183"/>
                    </a:moveTo>
                    <a:lnTo>
                      <a:pt x="161" y="1293"/>
                    </a:lnTo>
                    <a:lnTo>
                      <a:pt x="183" y="1171"/>
                    </a:lnTo>
                    <a:lnTo>
                      <a:pt x="148" y="1151"/>
                    </a:lnTo>
                    <a:lnTo>
                      <a:pt x="84" y="1183"/>
                    </a:lnTo>
                    <a:close/>
                    <a:moveTo>
                      <a:pt x="59" y="1195"/>
                    </a:moveTo>
                    <a:lnTo>
                      <a:pt x="154" y="1287"/>
                    </a:lnTo>
                    <a:lnTo>
                      <a:pt x="82" y="1185"/>
                    </a:lnTo>
                    <a:lnTo>
                      <a:pt x="59" y="1195"/>
                    </a:lnTo>
                    <a:close/>
                    <a:moveTo>
                      <a:pt x="185" y="1170"/>
                    </a:moveTo>
                    <a:lnTo>
                      <a:pt x="281" y="1223"/>
                    </a:lnTo>
                    <a:lnTo>
                      <a:pt x="305" y="1073"/>
                    </a:lnTo>
                    <a:lnTo>
                      <a:pt x="192" y="1129"/>
                    </a:lnTo>
                    <a:lnTo>
                      <a:pt x="185" y="1170"/>
                    </a:lnTo>
                    <a:close/>
                    <a:moveTo>
                      <a:pt x="568" y="1092"/>
                    </a:moveTo>
                    <a:lnTo>
                      <a:pt x="594" y="1207"/>
                    </a:lnTo>
                    <a:lnTo>
                      <a:pt x="635" y="1113"/>
                    </a:lnTo>
                    <a:lnTo>
                      <a:pt x="568" y="1092"/>
                    </a:lnTo>
                    <a:close/>
                    <a:moveTo>
                      <a:pt x="8" y="1079"/>
                    </a:moveTo>
                    <a:lnTo>
                      <a:pt x="57" y="1192"/>
                    </a:lnTo>
                    <a:lnTo>
                      <a:pt x="75" y="1174"/>
                    </a:lnTo>
                    <a:lnTo>
                      <a:pt x="8" y="1079"/>
                    </a:lnTo>
                    <a:close/>
                    <a:moveTo>
                      <a:pt x="76" y="1176"/>
                    </a:moveTo>
                    <a:lnTo>
                      <a:pt x="63" y="1190"/>
                    </a:lnTo>
                    <a:lnTo>
                      <a:pt x="81" y="1182"/>
                    </a:lnTo>
                    <a:lnTo>
                      <a:pt x="76" y="1176"/>
                    </a:lnTo>
                    <a:close/>
                    <a:moveTo>
                      <a:pt x="78" y="1174"/>
                    </a:moveTo>
                    <a:lnTo>
                      <a:pt x="82" y="1180"/>
                    </a:lnTo>
                    <a:lnTo>
                      <a:pt x="145" y="1149"/>
                    </a:lnTo>
                    <a:lnTo>
                      <a:pt x="117" y="1135"/>
                    </a:lnTo>
                    <a:lnTo>
                      <a:pt x="78" y="1174"/>
                    </a:lnTo>
                    <a:close/>
                    <a:moveTo>
                      <a:pt x="6" y="1072"/>
                    </a:moveTo>
                    <a:lnTo>
                      <a:pt x="76" y="1173"/>
                    </a:lnTo>
                    <a:lnTo>
                      <a:pt x="114" y="1133"/>
                    </a:lnTo>
                    <a:lnTo>
                      <a:pt x="6" y="1072"/>
                    </a:lnTo>
                    <a:close/>
                    <a:moveTo>
                      <a:pt x="151" y="1149"/>
                    </a:moveTo>
                    <a:lnTo>
                      <a:pt x="183" y="1168"/>
                    </a:lnTo>
                    <a:lnTo>
                      <a:pt x="189" y="1130"/>
                    </a:lnTo>
                    <a:lnTo>
                      <a:pt x="151" y="1149"/>
                    </a:lnTo>
                    <a:close/>
                    <a:moveTo>
                      <a:pt x="119" y="1132"/>
                    </a:moveTo>
                    <a:lnTo>
                      <a:pt x="148" y="1148"/>
                    </a:lnTo>
                    <a:lnTo>
                      <a:pt x="190" y="1127"/>
                    </a:lnTo>
                    <a:lnTo>
                      <a:pt x="204" y="1042"/>
                    </a:lnTo>
                    <a:lnTo>
                      <a:pt x="119" y="1132"/>
                    </a:lnTo>
                    <a:close/>
                    <a:moveTo>
                      <a:pt x="714" y="1130"/>
                    </a:moveTo>
                    <a:lnTo>
                      <a:pt x="732" y="1141"/>
                    </a:lnTo>
                    <a:lnTo>
                      <a:pt x="755" y="1057"/>
                    </a:lnTo>
                    <a:lnTo>
                      <a:pt x="714" y="1130"/>
                    </a:lnTo>
                    <a:close/>
                    <a:moveTo>
                      <a:pt x="713" y="1135"/>
                    </a:moveTo>
                    <a:lnTo>
                      <a:pt x="723" y="1139"/>
                    </a:lnTo>
                    <a:lnTo>
                      <a:pt x="714" y="1133"/>
                    </a:lnTo>
                    <a:lnTo>
                      <a:pt x="713" y="1135"/>
                    </a:lnTo>
                    <a:close/>
                    <a:moveTo>
                      <a:pt x="638" y="1111"/>
                    </a:moveTo>
                    <a:lnTo>
                      <a:pt x="710" y="1135"/>
                    </a:lnTo>
                    <a:lnTo>
                      <a:pt x="711" y="1132"/>
                    </a:lnTo>
                    <a:lnTo>
                      <a:pt x="647" y="1094"/>
                    </a:lnTo>
                    <a:lnTo>
                      <a:pt x="638" y="1111"/>
                    </a:lnTo>
                    <a:close/>
                    <a:moveTo>
                      <a:pt x="3" y="1069"/>
                    </a:moveTo>
                    <a:lnTo>
                      <a:pt x="116" y="1130"/>
                    </a:lnTo>
                    <a:lnTo>
                      <a:pt x="204" y="1040"/>
                    </a:lnTo>
                    <a:lnTo>
                      <a:pt x="69" y="974"/>
                    </a:lnTo>
                    <a:lnTo>
                      <a:pt x="3" y="1069"/>
                    </a:lnTo>
                    <a:close/>
                    <a:moveTo>
                      <a:pt x="648" y="1091"/>
                    </a:moveTo>
                    <a:lnTo>
                      <a:pt x="713" y="1130"/>
                    </a:lnTo>
                    <a:lnTo>
                      <a:pt x="758" y="1047"/>
                    </a:lnTo>
                    <a:lnTo>
                      <a:pt x="730" y="902"/>
                    </a:lnTo>
                    <a:lnTo>
                      <a:pt x="648" y="1091"/>
                    </a:lnTo>
                    <a:close/>
                    <a:moveTo>
                      <a:pt x="206" y="1041"/>
                    </a:moveTo>
                    <a:lnTo>
                      <a:pt x="192" y="1126"/>
                    </a:lnTo>
                    <a:lnTo>
                      <a:pt x="303" y="1072"/>
                    </a:lnTo>
                    <a:lnTo>
                      <a:pt x="206" y="1041"/>
                    </a:lnTo>
                    <a:close/>
                    <a:moveTo>
                      <a:pt x="566" y="1089"/>
                    </a:moveTo>
                    <a:lnTo>
                      <a:pt x="637" y="1111"/>
                    </a:lnTo>
                    <a:lnTo>
                      <a:pt x="644" y="1092"/>
                    </a:lnTo>
                    <a:lnTo>
                      <a:pt x="555" y="1038"/>
                    </a:lnTo>
                    <a:lnTo>
                      <a:pt x="566" y="1089"/>
                    </a:lnTo>
                    <a:close/>
                    <a:moveTo>
                      <a:pt x="555" y="1035"/>
                    </a:moveTo>
                    <a:lnTo>
                      <a:pt x="645" y="1089"/>
                    </a:lnTo>
                    <a:lnTo>
                      <a:pt x="730" y="898"/>
                    </a:lnTo>
                    <a:lnTo>
                      <a:pt x="727" y="881"/>
                    </a:lnTo>
                    <a:lnTo>
                      <a:pt x="555" y="1035"/>
                    </a:lnTo>
                    <a:close/>
                    <a:moveTo>
                      <a:pt x="550" y="1083"/>
                    </a:moveTo>
                    <a:lnTo>
                      <a:pt x="563" y="1088"/>
                    </a:lnTo>
                    <a:lnTo>
                      <a:pt x="553" y="1044"/>
                    </a:lnTo>
                    <a:lnTo>
                      <a:pt x="550" y="1083"/>
                    </a:lnTo>
                    <a:close/>
                    <a:moveTo>
                      <a:pt x="474" y="1060"/>
                    </a:moveTo>
                    <a:lnTo>
                      <a:pt x="547" y="1083"/>
                    </a:lnTo>
                    <a:lnTo>
                      <a:pt x="552" y="1037"/>
                    </a:lnTo>
                    <a:lnTo>
                      <a:pt x="474" y="1060"/>
                    </a:lnTo>
                    <a:close/>
                    <a:moveTo>
                      <a:pt x="416" y="987"/>
                    </a:moveTo>
                    <a:lnTo>
                      <a:pt x="310" y="1070"/>
                    </a:lnTo>
                    <a:lnTo>
                      <a:pt x="468" y="1059"/>
                    </a:lnTo>
                    <a:lnTo>
                      <a:pt x="416" y="987"/>
                    </a:lnTo>
                    <a:close/>
                    <a:moveTo>
                      <a:pt x="208" y="1038"/>
                    </a:moveTo>
                    <a:lnTo>
                      <a:pt x="303" y="1070"/>
                    </a:lnTo>
                    <a:lnTo>
                      <a:pt x="245" y="936"/>
                    </a:lnTo>
                    <a:lnTo>
                      <a:pt x="208" y="1038"/>
                    </a:lnTo>
                    <a:close/>
                    <a:moveTo>
                      <a:pt x="341" y="883"/>
                    </a:moveTo>
                    <a:lnTo>
                      <a:pt x="307" y="1069"/>
                    </a:lnTo>
                    <a:lnTo>
                      <a:pt x="416" y="985"/>
                    </a:lnTo>
                    <a:lnTo>
                      <a:pt x="341" y="883"/>
                    </a:lnTo>
                    <a:close/>
                    <a:moveTo>
                      <a:pt x="246" y="933"/>
                    </a:moveTo>
                    <a:lnTo>
                      <a:pt x="305" y="1067"/>
                    </a:lnTo>
                    <a:lnTo>
                      <a:pt x="340" y="881"/>
                    </a:lnTo>
                    <a:lnTo>
                      <a:pt x="259" y="896"/>
                    </a:lnTo>
                    <a:lnTo>
                      <a:pt x="246" y="933"/>
                    </a:lnTo>
                    <a:close/>
                    <a:moveTo>
                      <a:pt x="41" y="959"/>
                    </a:moveTo>
                    <a:lnTo>
                      <a:pt x="6" y="1060"/>
                    </a:lnTo>
                    <a:lnTo>
                      <a:pt x="68" y="972"/>
                    </a:lnTo>
                    <a:lnTo>
                      <a:pt x="41" y="959"/>
                    </a:lnTo>
                    <a:close/>
                    <a:moveTo>
                      <a:pt x="446" y="963"/>
                    </a:moveTo>
                    <a:lnTo>
                      <a:pt x="471" y="1059"/>
                    </a:lnTo>
                    <a:lnTo>
                      <a:pt x="552" y="1035"/>
                    </a:lnTo>
                    <a:lnTo>
                      <a:pt x="512" y="912"/>
                    </a:lnTo>
                    <a:lnTo>
                      <a:pt x="446" y="963"/>
                    </a:lnTo>
                    <a:close/>
                    <a:moveTo>
                      <a:pt x="419" y="985"/>
                    </a:moveTo>
                    <a:lnTo>
                      <a:pt x="468" y="1054"/>
                    </a:lnTo>
                    <a:lnTo>
                      <a:pt x="445" y="965"/>
                    </a:lnTo>
                    <a:lnTo>
                      <a:pt x="419" y="985"/>
                    </a:lnTo>
                    <a:close/>
                    <a:moveTo>
                      <a:pt x="733" y="898"/>
                    </a:moveTo>
                    <a:lnTo>
                      <a:pt x="758" y="1037"/>
                    </a:lnTo>
                    <a:lnTo>
                      <a:pt x="764" y="941"/>
                    </a:lnTo>
                    <a:lnTo>
                      <a:pt x="746" y="865"/>
                    </a:lnTo>
                    <a:lnTo>
                      <a:pt x="733" y="898"/>
                    </a:lnTo>
                    <a:close/>
                    <a:moveTo>
                      <a:pt x="130" y="917"/>
                    </a:moveTo>
                    <a:lnTo>
                      <a:pt x="205" y="1037"/>
                    </a:lnTo>
                    <a:lnTo>
                      <a:pt x="243" y="933"/>
                    </a:lnTo>
                    <a:lnTo>
                      <a:pt x="228" y="900"/>
                    </a:lnTo>
                    <a:lnTo>
                      <a:pt x="130" y="917"/>
                    </a:lnTo>
                    <a:close/>
                    <a:moveTo>
                      <a:pt x="70" y="971"/>
                    </a:moveTo>
                    <a:lnTo>
                      <a:pt x="202" y="1035"/>
                    </a:lnTo>
                    <a:lnTo>
                      <a:pt x="128" y="918"/>
                    </a:lnTo>
                    <a:lnTo>
                      <a:pt x="106" y="921"/>
                    </a:lnTo>
                    <a:lnTo>
                      <a:pt x="70" y="971"/>
                    </a:lnTo>
                    <a:close/>
                    <a:moveTo>
                      <a:pt x="514" y="911"/>
                    </a:moveTo>
                    <a:lnTo>
                      <a:pt x="553" y="1034"/>
                    </a:lnTo>
                    <a:lnTo>
                      <a:pt x="726" y="878"/>
                    </a:lnTo>
                    <a:lnTo>
                      <a:pt x="723" y="864"/>
                    </a:lnTo>
                    <a:lnTo>
                      <a:pt x="572" y="865"/>
                    </a:lnTo>
                    <a:lnTo>
                      <a:pt x="514" y="911"/>
                    </a:lnTo>
                    <a:close/>
                    <a:moveTo>
                      <a:pt x="343" y="881"/>
                    </a:moveTo>
                    <a:lnTo>
                      <a:pt x="417" y="984"/>
                    </a:lnTo>
                    <a:lnTo>
                      <a:pt x="443" y="962"/>
                    </a:lnTo>
                    <a:lnTo>
                      <a:pt x="419" y="867"/>
                    </a:lnTo>
                    <a:lnTo>
                      <a:pt x="343" y="881"/>
                    </a:lnTo>
                    <a:close/>
                    <a:moveTo>
                      <a:pt x="43" y="958"/>
                    </a:moveTo>
                    <a:lnTo>
                      <a:pt x="69" y="969"/>
                    </a:lnTo>
                    <a:lnTo>
                      <a:pt x="101" y="922"/>
                    </a:lnTo>
                    <a:lnTo>
                      <a:pt x="51" y="930"/>
                    </a:lnTo>
                    <a:lnTo>
                      <a:pt x="43" y="958"/>
                    </a:lnTo>
                    <a:close/>
                    <a:moveTo>
                      <a:pt x="420" y="867"/>
                    </a:moveTo>
                    <a:lnTo>
                      <a:pt x="445" y="960"/>
                    </a:lnTo>
                    <a:lnTo>
                      <a:pt x="511" y="911"/>
                    </a:lnTo>
                    <a:lnTo>
                      <a:pt x="496" y="867"/>
                    </a:lnTo>
                    <a:lnTo>
                      <a:pt x="420" y="867"/>
                    </a:lnTo>
                    <a:close/>
                    <a:moveTo>
                      <a:pt x="5" y="939"/>
                    </a:moveTo>
                    <a:lnTo>
                      <a:pt x="40" y="956"/>
                    </a:lnTo>
                    <a:lnTo>
                      <a:pt x="49" y="931"/>
                    </a:lnTo>
                    <a:lnTo>
                      <a:pt x="5" y="939"/>
                    </a:lnTo>
                    <a:close/>
                    <a:moveTo>
                      <a:pt x="231" y="900"/>
                    </a:moveTo>
                    <a:lnTo>
                      <a:pt x="245" y="930"/>
                    </a:lnTo>
                    <a:lnTo>
                      <a:pt x="256" y="896"/>
                    </a:lnTo>
                    <a:lnTo>
                      <a:pt x="231" y="900"/>
                    </a:lnTo>
                    <a:close/>
                    <a:moveTo>
                      <a:pt x="82" y="843"/>
                    </a:moveTo>
                    <a:lnTo>
                      <a:pt x="53" y="928"/>
                    </a:lnTo>
                    <a:lnTo>
                      <a:pt x="104" y="919"/>
                    </a:lnTo>
                    <a:lnTo>
                      <a:pt x="117" y="899"/>
                    </a:lnTo>
                    <a:lnTo>
                      <a:pt x="82" y="843"/>
                    </a:lnTo>
                    <a:close/>
                    <a:moveTo>
                      <a:pt x="119" y="902"/>
                    </a:moveTo>
                    <a:lnTo>
                      <a:pt x="107" y="918"/>
                    </a:lnTo>
                    <a:lnTo>
                      <a:pt x="126" y="915"/>
                    </a:lnTo>
                    <a:lnTo>
                      <a:pt x="119" y="902"/>
                    </a:lnTo>
                    <a:close/>
                    <a:moveTo>
                      <a:pt x="120" y="900"/>
                    </a:moveTo>
                    <a:lnTo>
                      <a:pt x="129" y="915"/>
                    </a:lnTo>
                    <a:lnTo>
                      <a:pt x="228" y="898"/>
                    </a:lnTo>
                    <a:lnTo>
                      <a:pt x="186" y="804"/>
                    </a:lnTo>
                    <a:lnTo>
                      <a:pt x="120" y="900"/>
                    </a:lnTo>
                    <a:close/>
                    <a:moveTo>
                      <a:pt x="499" y="867"/>
                    </a:moveTo>
                    <a:lnTo>
                      <a:pt x="512" y="909"/>
                    </a:lnTo>
                    <a:lnTo>
                      <a:pt x="568" y="865"/>
                    </a:lnTo>
                    <a:lnTo>
                      <a:pt x="499" y="867"/>
                    </a:lnTo>
                    <a:close/>
                    <a:moveTo>
                      <a:pt x="187" y="801"/>
                    </a:moveTo>
                    <a:lnTo>
                      <a:pt x="230" y="898"/>
                    </a:lnTo>
                    <a:lnTo>
                      <a:pt x="258" y="893"/>
                    </a:lnTo>
                    <a:lnTo>
                      <a:pt x="280" y="832"/>
                    </a:lnTo>
                    <a:lnTo>
                      <a:pt x="208" y="772"/>
                    </a:lnTo>
                    <a:lnTo>
                      <a:pt x="187" y="801"/>
                    </a:lnTo>
                    <a:close/>
                    <a:moveTo>
                      <a:pt x="729" y="880"/>
                    </a:moveTo>
                    <a:lnTo>
                      <a:pt x="732" y="893"/>
                    </a:lnTo>
                    <a:lnTo>
                      <a:pt x="743" y="867"/>
                    </a:lnTo>
                    <a:lnTo>
                      <a:pt x="729" y="880"/>
                    </a:lnTo>
                    <a:close/>
                    <a:moveTo>
                      <a:pt x="283" y="833"/>
                    </a:moveTo>
                    <a:lnTo>
                      <a:pt x="261" y="893"/>
                    </a:lnTo>
                    <a:lnTo>
                      <a:pt x="338" y="880"/>
                    </a:lnTo>
                    <a:lnTo>
                      <a:pt x="283" y="833"/>
                    </a:lnTo>
                    <a:close/>
                    <a:moveTo>
                      <a:pt x="345" y="665"/>
                    </a:moveTo>
                    <a:lnTo>
                      <a:pt x="343" y="878"/>
                    </a:lnTo>
                    <a:lnTo>
                      <a:pt x="417" y="865"/>
                    </a:lnTo>
                    <a:lnTo>
                      <a:pt x="345" y="665"/>
                    </a:lnTo>
                    <a:close/>
                    <a:moveTo>
                      <a:pt x="283" y="832"/>
                    </a:moveTo>
                    <a:lnTo>
                      <a:pt x="340" y="878"/>
                    </a:lnTo>
                    <a:lnTo>
                      <a:pt x="343" y="666"/>
                    </a:lnTo>
                    <a:lnTo>
                      <a:pt x="283" y="832"/>
                    </a:lnTo>
                    <a:close/>
                    <a:moveTo>
                      <a:pt x="726" y="864"/>
                    </a:moveTo>
                    <a:lnTo>
                      <a:pt x="729" y="877"/>
                    </a:lnTo>
                    <a:lnTo>
                      <a:pt x="743" y="864"/>
                    </a:lnTo>
                    <a:lnTo>
                      <a:pt x="726" y="864"/>
                    </a:lnTo>
                    <a:close/>
                    <a:moveTo>
                      <a:pt x="480" y="817"/>
                    </a:moveTo>
                    <a:lnTo>
                      <a:pt x="423" y="865"/>
                    </a:lnTo>
                    <a:lnTo>
                      <a:pt x="496" y="864"/>
                    </a:lnTo>
                    <a:lnTo>
                      <a:pt x="480" y="817"/>
                    </a:lnTo>
                    <a:close/>
                    <a:moveTo>
                      <a:pt x="483" y="816"/>
                    </a:moveTo>
                    <a:lnTo>
                      <a:pt x="498" y="864"/>
                    </a:lnTo>
                    <a:lnTo>
                      <a:pt x="572" y="862"/>
                    </a:lnTo>
                    <a:lnTo>
                      <a:pt x="650" y="802"/>
                    </a:lnTo>
                    <a:lnTo>
                      <a:pt x="565" y="748"/>
                    </a:lnTo>
                    <a:lnTo>
                      <a:pt x="483" y="816"/>
                    </a:lnTo>
                    <a:close/>
                    <a:moveTo>
                      <a:pt x="432" y="668"/>
                    </a:moveTo>
                    <a:lnTo>
                      <a:pt x="420" y="864"/>
                    </a:lnTo>
                    <a:lnTo>
                      <a:pt x="480" y="814"/>
                    </a:lnTo>
                    <a:lnTo>
                      <a:pt x="432" y="668"/>
                    </a:lnTo>
                    <a:close/>
                    <a:moveTo>
                      <a:pt x="653" y="804"/>
                    </a:moveTo>
                    <a:lnTo>
                      <a:pt x="575" y="862"/>
                    </a:lnTo>
                    <a:lnTo>
                      <a:pt x="723" y="861"/>
                    </a:lnTo>
                    <a:lnTo>
                      <a:pt x="720" y="846"/>
                    </a:lnTo>
                    <a:lnTo>
                      <a:pt x="653" y="804"/>
                    </a:lnTo>
                    <a:close/>
                    <a:moveTo>
                      <a:pt x="723" y="849"/>
                    </a:moveTo>
                    <a:lnTo>
                      <a:pt x="726" y="861"/>
                    </a:lnTo>
                    <a:lnTo>
                      <a:pt x="742" y="861"/>
                    </a:lnTo>
                    <a:lnTo>
                      <a:pt x="723" y="849"/>
                    </a:lnTo>
                    <a:close/>
                    <a:moveTo>
                      <a:pt x="345" y="659"/>
                    </a:moveTo>
                    <a:lnTo>
                      <a:pt x="419" y="859"/>
                    </a:lnTo>
                    <a:lnTo>
                      <a:pt x="429" y="662"/>
                    </a:lnTo>
                    <a:lnTo>
                      <a:pt x="359" y="613"/>
                    </a:lnTo>
                    <a:lnTo>
                      <a:pt x="344" y="619"/>
                    </a:lnTo>
                    <a:lnTo>
                      <a:pt x="345" y="659"/>
                    </a:lnTo>
                    <a:close/>
                    <a:moveTo>
                      <a:pt x="723" y="845"/>
                    </a:moveTo>
                    <a:lnTo>
                      <a:pt x="743" y="859"/>
                    </a:lnTo>
                    <a:lnTo>
                      <a:pt x="708" y="772"/>
                    </a:lnTo>
                    <a:lnTo>
                      <a:pt x="723" y="845"/>
                    </a:lnTo>
                    <a:close/>
                    <a:moveTo>
                      <a:pt x="654" y="802"/>
                    </a:moveTo>
                    <a:lnTo>
                      <a:pt x="720" y="843"/>
                    </a:lnTo>
                    <a:lnTo>
                      <a:pt x="705" y="763"/>
                    </a:lnTo>
                    <a:lnTo>
                      <a:pt x="654" y="802"/>
                    </a:lnTo>
                    <a:close/>
                    <a:moveTo>
                      <a:pt x="209" y="770"/>
                    </a:moveTo>
                    <a:lnTo>
                      <a:pt x="281" y="829"/>
                    </a:lnTo>
                    <a:lnTo>
                      <a:pt x="343" y="660"/>
                    </a:lnTo>
                    <a:lnTo>
                      <a:pt x="266" y="687"/>
                    </a:lnTo>
                    <a:lnTo>
                      <a:pt x="209" y="770"/>
                    </a:lnTo>
                    <a:close/>
                    <a:moveTo>
                      <a:pt x="433" y="663"/>
                    </a:moveTo>
                    <a:lnTo>
                      <a:pt x="482" y="813"/>
                    </a:lnTo>
                    <a:lnTo>
                      <a:pt x="562" y="747"/>
                    </a:lnTo>
                    <a:lnTo>
                      <a:pt x="433" y="663"/>
                    </a:lnTo>
                    <a:close/>
                    <a:moveTo>
                      <a:pt x="566" y="745"/>
                    </a:moveTo>
                    <a:lnTo>
                      <a:pt x="653" y="801"/>
                    </a:lnTo>
                    <a:lnTo>
                      <a:pt x="704" y="760"/>
                    </a:lnTo>
                    <a:lnTo>
                      <a:pt x="607" y="713"/>
                    </a:lnTo>
                    <a:lnTo>
                      <a:pt x="566" y="745"/>
                    </a:lnTo>
                    <a:close/>
                    <a:moveTo>
                      <a:pt x="157" y="729"/>
                    </a:moveTo>
                    <a:lnTo>
                      <a:pt x="186" y="798"/>
                    </a:lnTo>
                    <a:lnTo>
                      <a:pt x="206" y="770"/>
                    </a:lnTo>
                    <a:lnTo>
                      <a:pt x="157" y="729"/>
                    </a:lnTo>
                    <a:close/>
                    <a:moveTo>
                      <a:pt x="155" y="726"/>
                    </a:moveTo>
                    <a:lnTo>
                      <a:pt x="208" y="769"/>
                    </a:lnTo>
                    <a:lnTo>
                      <a:pt x="264" y="688"/>
                    </a:lnTo>
                    <a:lnTo>
                      <a:pt x="155" y="726"/>
                    </a:lnTo>
                    <a:close/>
                    <a:moveTo>
                      <a:pt x="609" y="712"/>
                    </a:moveTo>
                    <a:lnTo>
                      <a:pt x="701" y="757"/>
                    </a:lnTo>
                    <a:lnTo>
                      <a:pt x="647" y="679"/>
                    </a:lnTo>
                    <a:lnTo>
                      <a:pt x="609" y="712"/>
                    </a:lnTo>
                    <a:close/>
                    <a:moveTo>
                      <a:pt x="435" y="662"/>
                    </a:moveTo>
                    <a:lnTo>
                      <a:pt x="565" y="744"/>
                    </a:lnTo>
                    <a:lnTo>
                      <a:pt x="604" y="712"/>
                    </a:lnTo>
                    <a:lnTo>
                      <a:pt x="512" y="666"/>
                    </a:lnTo>
                    <a:lnTo>
                      <a:pt x="435" y="662"/>
                    </a:lnTo>
                    <a:close/>
                    <a:moveTo>
                      <a:pt x="648" y="678"/>
                    </a:moveTo>
                    <a:lnTo>
                      <a:pt x="695" y="744"/>
                    </a:lnTo>
                    <a:lnTo>
                      <a:pt x="656" y="672"/>
                    </a:lnTo>
                    <a:lnTo>
                      <a:pt x="648" y="678"/>
                    </a:lnTo>
                    <a:close/>
                    <a:moveTo>
                      <a:pt x="255" y="624"/>
                    </a:moveTo>
                    <a:lnTo>
                      <a:pt x="158" y="722"/>
                    </a:lnTo>
                    <a:lnTo>
                      <a:pt x="265" y="685"/>
                    </a:lnTo>
                    <a:lnTo>
                      <a:pt x="299" y="637"/>
                    </a:lnTo>
                    <a:lnTo>
                      <a:pt x="255" y="624"/>
                    </a:lnTo>
                    <a:close/>
                    <a:moveTo>
                      <a:pt x="518" y="666"/>
                    </a:moveTo>
                    <a:lnTo>
                      <a:pt x="606" y="710"/>
                    </a:lnTo>
                    <a:lnTo>
                      <a:pt x="645" y="678"/>
                    </a:lnTo>
                    <a:lnTo>
                      <a:pt x="639" y="671"/>
                    </a:lnTo>
                    <a:lnTo>
                      <a:pt x="518" y="666"/>
                    </a:lnTo>
                    <a:close/>
                    <a:moveTo>
                      <a:pt x="300" y="637"/>
                    </a:moveTo>
                    <a:lnTo>
                      <a:pt x="269" y="684"/>
                    </a:lnTo>
                    <a:lnTo>
                      <a:pt x="341" y="659"/>
                    </a:lnTo>
                    <a:lnTo>
                      <a:pt x="300" y="637"/>
                    </a:lnTo>
                    <a:close/>
                    <a:moveTo>
                      <a:pt x="642" y="671"/>
                    </a:moveTo>
                    <a:lnTo>
                      <a:pt x="647" y="676"/>
                    </a:lnTo>
                    <a:lnTo>
                      <a:pt x="653" y="671"/>
                    </a:lnTo>
                    <a:lnTo>
                      <a:pt x="642" y="671"/>
                    </a:lnTo>
                    <a:close/>
                    <a:moveTo>
                      <a:pt x="641" y="668"/>
                    </a:moveTo>
                    <a:lnTo>
                      <a:pt x="654" y="669"/>
                    </a:lnTo>
                    <a:lnTo>
                      <a:pt x="628" y="597"/>
                    </a:lnTo>
                    <a:lnTo>
                      <a:pt x="597" y="608"/>
                    </a:lnTo>
                    <a:lnTo>
                      <a:pt x="641" y="668"/>
                    </a:lnTo>
                    <a:close/>
                    <a:moveTo>
                      <a:pt x="512" y="663"/>
                    </a:moveTo>
                    <a:lnTo>
                      <a:pt x="638" y="668"/>
                    </a:lnTo>
                    <a:lnTo>
                      <a:pt x="596" y="609"/>
                    </a:lnTo>
                    <a:lnTo>
                      <a:pt x="479" y="647"/>
                    </a:lnTo>
                    <a:lnTo>
                      <a:pt x="512" y="663"/>
                    </a:lnTo>
                    <a:close/>
                    <a:moveTo>
                      <a:pt x="438" y="660"/>
                    </a:moveTo>
                    <a:lnTo>
                      <a:pt x="506" y="663"/>
                    </a:lnTo>
                    <a:lnTo>
                      <a:pt x="476" y="647"/>
                    </a:lnTo>
                    <a:lnTo>
                      <a:pt x="438" y="660"/>
                    </a:lnTo>
                    <a:close/>
                    <a:moveTo>
                      <a:pt x="391" y="599"/>
                    </a:moveTo>
                    <a:lnTo>
                      <a:pt x="430" y="659"/>
                    </a:lnTo>
                    <a:lnTo>
                      <a:pt x="464" y="640"/>
                    </a:lnTo>
                    <a:lnTo>
                      <a:pt x="458" y="571"/>
                    </a:lnTo>
                    <a:lnTo>
                      <a:pt x="391" y="599"/>
                    </a:lnTo>
                    <a:close/>
                    <a:moveTo>
                      <a:pt x="362" y="612"/>
                    </a:moveTo>
                    <a:lnTo>
                      <a:pt x="426" y="656"/>
                    </a:lnTo>
                    <a:lnTo>
                      <a:pt x="389" y="600"/>
                    </a:lnTo>
                    <a:lnTo>
                      <a:pt x="362" y="612"/>
                    </a:lnTo>
                    <a:close/>
                    <a:moveTo>
                      <a:pt x="303" y="635"/>
                    </a:moveTo>
                    <a:lnTo>
                      <a:pt x="343" y="656"/>
                    </a:lnTo>
                    <a:lnTo>
                      <a:pt x="343" y="619"/>
                    </a:lnTo>
                    <a:lnTo>
                      <a:pt x="303" y="635"/>
                    </a:lnTo>
                    <a:close/>
                    <a:moveTo>
                      <a:pt x="465" y="643"/>
                    </a:moveTo>
                    <a:lnTo>
                      <a:pt x="442" y="656"/>
                    </a:lnTo>
                    <a:lnTo>
                      <a:pt x="473" y="646"/>
                    </a:lnTo>
                    <a:lnTo>
                      <a:pt x="465" y="643"/>
                    </a:lnTo>
                    <a:close/>
                    <a:moveTo>
                      <a:pt x="467" y="640"/>
                    </a:moveTo>
                    <a:lnTo>
                      <a:pt x="476" y="644"/>
                    </a:lnTo>
                    <a:lnTo>
                      <a:pt x="594" y="606"/>
                    </a:lnTo>
                    <a:lnTo>
                      <a:pt x="582" y="590"/>
                    </a:lnTo>
                    <a:lnTo>
                      <a:pt x="503" y="578"/>
                    </a:lnTo>
                    <a:lnTo>
                      <a:pt x="467" y="640"/>
                    </a:lnTo>
                    <a:close/>
                    <a:moveTo>
                      <a:pt x="461" y="571"/>
                    </a:moveTo>
                    <a:lnTo>
                      <a:pt x="465" y="637"/>
                    </a:lnTo>
                    <a:lnTo>
                      <a:pt x="502" y="577"/>
                    </a:lnTo>
                    <a:lnTo>
                      <a:pt x="461" y="571"/>
                    </a:lnTo>
                    <a:close/>
                    <a:moveTo>
                      <a:pt x="256" y="621"/>
                    </a:moveTo>
                    <a:lnTo>
                      <a:pt x="299" y="634"/>
                    </a:lnTo>
                    <a:lnTo>
                      <a:pt x="300" y="575"/>
                    </a:lnTo>
                    <a:lnTo>
                      <a:pt x="256" y="621"/>
                    </a:lnTo>
                    <a:close/>
                    <a:moveTo>
                      <a:pt x="303" y="575"/>
                    </a:moveTo>
                    <a:lnTo>
                      <a:pt x="302" y="632"/>
                    </a:lnTo>
                    <a:lnTo>
                      <a:pt x="338" y="599"/>
                    </a:lnTo>
                    <a:lnTo>
                      <a:pt x="303" y="575"/>
                    </a:lnTo>
                    <a:close/>
                    <a:moveTo>
                      <a:pt x="340" y="600"/>
                    </a:moveTo>
                    <a:lnTo>
                      <a:pt x="306" y="632"/>
                    </a:lnTo>
                    <a:lnTo>
                      <a:pt x="341" y="618"/>
                    </a:lnTo>
                    <a:lnTo>
                      <a:pt x="341" y="602"/>
                    </a:lnTo>
                    <a:lnTo>
                      <a:pt x="340" y="600"/>
                    </a:lnTo>
                    <a:close/>
                    <a:moveTo>
                      <a:pt x="135" y="584"/>
                    </a:moveTo>
                    <a:lnTo>
                      <a:pt x="253" y="621"/>
                    </a:lnTo>
                    <a:lnTo>
                      <a:pt x="300" y="572"/>
                    </a:lnTo>
                    <a:lnTo>
                      <a:pt x="234" y="530"/>
                    </a:lnTo>
                    <a:lnTo>
                      <a:pt x="135" y="584"/>
                    </a:lnTo>
                    <a:close/>
                    <a:moveTo>
                      <a:pt x="344" y="603"/>
                    </a:moveTo>
                    <a:lnTo>
                      <a:pt x="344" y="616"/>
                    </a:lnTo>
                    <a:lnTo>
                      <a:pt x="356" y="612"/>
                    </a:lnTo>
                    <a:lnTo>
                      <a:pt x="344" y="603"/>
                    </a:lnTo>
                    <a:close/>
                    <a:moveTo>
                      <a:pt x="344" y="600"/>
                    </a:moveTo>
                    <a:lnTo>
                      <a:pt x="359" y="610"/>
                    </a:lnTo>
                    <a:lnTo>
                      <a:pt x="388" y="599"/>
                    </a:lnTo>
                    <a:lnTo>
                      <a:pt x="370" y="572"/>
                    </a:lnTo>
                    <a:lnTo>
                      <a:pt x="369" y="572"/>
                    </a:lnTo>
                    <a:lnTo>
                      <a:pt x="344" y="596"/>
                    </a:lnTo>
                    <a:lnTo>
                      <a:pt x="344" y="600"/>
                    </a:lnTo>
                    <a:close/>
                    <a:moveTo>
                      <a:pt x="585" y="590"/>
                    </a:moveTo>
                    <a:lnTo>
                      <a:pt x="596" y="606"/>
                    </a:lnTo>
                    <a:lnTo>
                      <a:pt x="623" y="596"/>
                    </a:lnTo>
                    <a:lnTo>
                      <a:pt x="585" y="590"/>
                    </a:lnTo>
                    <a:close/>
                    <a:moveTo>
                      <a:pt x="373" y="572"/>
                    </a:moveTo>
                    <a:lnTo>
                      <a:pt x="389" y="597"/>
                    </a:lnTo>
                    <a:lnTo>
                      <a:pt x="454" y="571"/>
                    </a:lnTo>
                    <a:lnTo>
                      <a:pt x="373" y="572"/>
                    </a:lnTo>
                    <a:close/>
                    <a:moveTo>
                      <a:pt x="306" y="574"/>
                    </a:moveTo>
                    <a:lnTo>
                      <a:pt x="340" y="597"/>
                    </a:lnTo>
                    <a:lnTo>
                      <a:pt x="341" y="596"/>
                    </a:lnTo>
                    <a:lnTo>
                      <a:pt x="341" y="574"/>
                    </a:lnTo>
                    <a:lnTo>
                      <a:pt x="306" y="574"/>
                    </a:lnTo>
                    <a:close/>
                    <a:moveTo>
                      <a:pt x="584" y="589"/>
                    </a:moveTo>
                    <a:lnTo>
                      <a:pt x="626" y="594"/>
                    </a:lnTo>
                    <a:lnTo>
                      <a:pt x="613" y="533"/>
                    </a:lnTo>
                    <a:lnTo>
                      <a:pt x="555" y="548"/>
                    </a:lnTo>
                    <a:lnTo>
                      <a:pt x="584" y="589"/>
                    </a:lnTo>
                    <a:close/>
                    <a:moveTo>
                      <a:pt x="343" y="572"/>
                    </a:moveTo>
                    <a:lnTo>
                      <a:pt x="344" y="593"/>
                    </a:lnTo>
                    <a:lnTo>
                      <a:pt x="366" y="572"/>
                    </a:lnTo>
                    <a:lnTo>
                      <a:pt x="343" y="572"/>
                    </a:lnTo>
                    <a:close/>
                    <a:moveTo>
                      <a:pt x="505" y="575"/>
                    </a:moveTo>
                    <a:lnTo>
                      <a:pt x="580" y="587"/>
                    </a:lnTo>
                    <a:lnTo>
                      <a:pt x="552" y="548"/>
                    </a:lnTo>
                    <a:lnTo>
                      <a:pt x="517" y="556"/>
                    </a:lnTo>
                    <a:lnTo>
                      <a:pt x="505" y="575"/>
                    </a:lnTo>
                    <a:close/>
                    <a:moveTo>
                      <a:pt x="465" y="569"/>
                    </a:moveTo>
                    <a:lnTo>
                      <a:pt x="503" y="575"/>
                    </a:lnTo>
                    <a:lnTo>
                      <a:pt x="514" y="558"/>
                    </a:lnTo>
                    <a:lnTo>
                      <a:pt x="465" y="569"/>
                    </a:lnTo>
                    <a:close/>
                    <a:moveTo>
                      <a:pt x="340" y="527"/>
                    </a:moveTo>
                    <a:lnTo>
                      <a:pt x="305" y="571"/>
                    </a:lnTo>
                    <a:lnTo>
                      <a:pt x="341" y="571"/>
                    </a:lnTo>
                    <a:lnTo>
                      <a:pt x="340" y="527"/>
                    </a:lnTo>
                    <a:close/>
                    <a:moveTo>
                      <a:pt x="237" y="528"/>
                    </a:moveTo>
                    <a:lnTo>
                      <a:pt x="302" y="571"/>
                    </a:lnTo>
                    <a:lnTo>
                      <a:pt x="340" y="524"/>
                    </a:lnTo>
                    <a:lnTo>
                      <a:pt x="294" y="498"/>
                    </a:lnTo>
                    <a:lnTo>
                      <a:pt x="237" y="528"/>
                    </a:lnTo>
                    <a:close/>
                    <a:moveTo>
                      <a:pt x="343" y="528"/>
                    </a:moveTo>
                    <a:lnTo>
                      <a:pt x="343" y="571"/>
                    </a:lnTo>
                    <a:lnTo>
                      <a:pt x="367" y="569"/>
                    </a:lnTo>
                    <a:lnTo>
                      <a:pt x="369" y="569"/>
                    </a:lnTo>
                    <a:lnTo>
                      <a:pt x="343" y="528"/>
                    </a:lnTo>
                    <a:close/>
                    <a:moveTo>
                      <a:pt x="372" y="569"/>
                    </a:moveTo>
                    <a:lnTo>
                      <a:pt x="372" y="569"/>
                    </a:lnTo>
                    <a:lnTo>
                      <a:pt x="457" y="568"/>
                    </a:lnTo>
                    <a:lnTo>
                      <a:pt x="420" y="524"/>
                    </a:lnTo>
                    <a:lnTo>
                      <a:pt x="372" y="569"/>
                    </a:lnTo>
                    <a:close/>
                    <a:moveTo>
                      <a:pt x="343" y="526"/>
                    </a:moveTo>
                    <a:lnTo>
                      <a:pt x="370" y="568"/>
                    </a:lnTo>
                    <a:lnTo>
                      <a:pt x="417" y="523"/>
                    </a:lnTo>
                    <a:lnTo>
                      <a:pt x="343" y="526"/>
                    </a:lnTo>
                    <a:close/>
                    <a:moveTo>
                      <a:pt x="515" y="507"/>
                    </a:moveTo>
                    <a:lnTo>
                      <a:pt x="462" y="568"/>
                    </a:lnTo>
                    <a:lnTo>
                      <a:pt x="515" y="555"/>
                    </a:lnTo>
                    <a:lnTo>
                      <a:pt x="534" y="523"/>
                    </a:lnTo>
                    <a:lnTo>
                      <a:pt x="524" y="508"/>
                    </a:lnTo>
                    <a:lnTo>
                      <a:pt x="515" y="507"/>
                    </a:lnTo>
                    <a:close/>
                    <a:moveTo>
                      <a:pt x="423" y="523"/>
                    </a:moveTo>
                    <a:lnTo>
                      <a:pt x="460" y="567"/>
                    </a:lnTo>
                    <a:lnTo>
                      <a:pt x="489" y="499"/>
                    </a:lnTo>
                    <a:lnTo>
                      <a:pt x="470" y="495"/>
                    </a:lnTo>
                    <a:lnTo>
                      <a:pt x="423" y="523"/>
                    </a:lnTo>
                    <a:close/>
                    <a:moveTo>
                      <a:pt x="492" y="501"/>
                    </a:moveTo>
                    <a:lnTo>
                      <a:pt x="464" y="562"/>
                    </a:lnTo>
                    <a:lnTo>
                      <a:pt x="514" y="505"/>
                    </a:lnTo>
                    <a:lnTo>
                      <a:pt x="492" y="501"/>
                    </a:lnTo>
                    <a:close/>
                    <a:moveTo>
                      <a:pt x="536" y="526"/>
                    </a:moveTo>
                    <a:lnTo>
                      <a:pt x="518" y="553"/>
                    </a:lnTo>
                    <a:lnTo>
                      <a:pt x="550" y="546"/>
                    </a:lnTo>
                    <a:lnTo>
                      <a:pt x="536" y="526"/>
                    </a:lnTo>
                    <a:close/>
                    <a:moveTo>
                      <a:pt x="537" y="523"/>
                    </a:moveTo>
                    <a:lnTo>
                      <a:pt x="553" y="545"/>
                    </a:lnTo>
                    <a:lnTo>
                      <a:pt x="609" y="531"/>
                    </a:lnTo>
                    <a:lnTo>
                      <a:pt x="543" y="514"/>
                    </a:lnTo>
                    <a:lnTo>
                      <a:pt x="537" y="523"/>
                    </a:lnTo>
                    <a:close/>
                    <a:moveTo>
                      <a:pt x="544" y="511"/>
                    </a:moveTo>
                    <a:lnTo>
                      <a:pt x="613" y="528"/>
                    </a:lnTo>
                    <a:lnTo>
                      <a:pt x="612" y="397"/>
                    </a:lnTo>
                    <a:lnTo>
                      <a:pt x="544" y="511"/>
                    </a:lnTo>
                    <a:close/>
                    <a:moveTo>
                      <a:pt x="148" y="470"/>
                    </a:moveTo>
                    <a:lnTo>
                      <a:pt x="234" y="527"/>
                    </a:lnTo>
                    <a:lnTo>
                      <a:pt x="293" y="496"/>
                    </a:lnTo>
                    <a:lnTo>
                      <a:pt x="245" y="430"/>
                    </a:lnTo>
                    <a:lnTo>
                      <a:pt x="148" y="470"/>
                    </a:lnTo>
                    <a:close/>
                    <a:moveTo>
                      <a:pt x="359" y="511"/>
                    </a:moveTo>
                    <a:lnTo>
                      <a:pt x="344" y="523"/>
                    </a:lnTo>
                    <a:lnTo>
                      <a:pt x="410" y="521"/>
                    </a:lnTo>
                    <a:lnTo>
                      <a:pt x="359" y="511"/>
                    </a:lnTo>
                    <a:close/>
                    <a:moveTo>
                      <a:pt x="302" y="499"/>
                    </a:moveTo>
                    <a:lnTo>
                      <a:pt x="341" y="523"/>
                    </a:lnTo>
                    <a:lnTo>
                      <a:pt x="356" y="509"/>
                    </a:lnTo>
                    <a:lnTo>
                      <a:pt x="302" y="499"/>
                    </a:lnTo>
                    <a:close/>
                    <a:moveTo>
                      <a:pt x="527" y="509"/>
                    </a:moveTo>
                    <a:lnTo>
                      <a:pt x="536" y="521"/>
                    </a:lnTo>
                    <a:lnTo>
                      <a:pt x="540" y="512"/>
                    </a:lnTo>
                    <a:lnTo>
                      <a:pt x="527" y="509"/>
                    </a:lnTo>
                    <a:close/>
                    <a:moveTo>
                      <a:pt x="360" y="508"/>
                    </a:moveTo>
                    <a:lnTo>
                      <a:pt x="420" y="521"/>
                    </a:lnTo>
                    <a:lnTo>
                      <a:pt x="458" y="423"/>
                    </a:lnTo>
                    <a:lnTo>
                      <a:pt x="360" y="508"/>
                    </a:lnTo>
                    <a:close/>
                    <a:moveTo>
                      <a:pt x="460" y="425"/>
                    </a:moveTo>
                    <a:lnTo>
                      <a:pt x="423" y="520"/>
                    </a:lnTo>
                    <a:lnTo>
                      <a:pt x="468" y="492"/>
                    </a:lnTo>
                    <a:lnTo>
                      <a:pt x="460" y="425"/>
                    </a:lnTo>
                    <a:close/>
                    <a:moveTo>
                      <a:pt x="525" y="507"/>
                    </a:moveTo>
                    <a:lnTo>
                      <a:pt x="541" y="511"/>
                    </a:lnTo>
                    <a:lnTo>
                      <a:pt x="604" y="404"/>
                    </a:lnTo>
                    <a:lnTo>
                      <a:pt x="521" y="501"/>
                    </a:lnTo>
                    <a:lnTo>
                      <a:pt x="525" y="507"/>
                    </a:lnTo>
                    <a:close/>
                    <a:moveTo>
                      <a:pt x="297" y="496"/>
                    </a:moveTo>
                    <a:lnTo>
                      <a:pt x="357" y="508"/>
                    </a:lnTo>
                    <a:lnTo>
                      <a:pt x="454" y="423"/>
                    </a:lnTo>
                    <a:lnTo>
                      <a:pt x="297" y="496"/>
                    </a:lnTo>
                    <a:close/>
                    <a:moveTo>
                      <a:pt x="518" y="505"/>
                    </a:moveTo>
                    <a:lnTo>
                      <a:pt x="521" y="505"/>
                    </a:lnTo>
                    <a:lnTo>
                      <a:pt x="520" y="502"/>
                    </a:lnTo>
                    <a:lnTo>
                      <a:pt x="518" y="505"/>
                    </a:lnTo>
                    <a:close/>
                    <a:moveTo>
                      <a:pt x="492" y="498"/>
                    </a:moveTo>
                    <a:lnTo>
                      <a:pt x="515" y="504"/>
                    </a:lnTo>
                    <a:lnTo>
                      <a:pt x="518" y="501"/>
                    </a:lnTo>
                    <a:lnTo>
                      <a:pt x="502" y="477"/>
                    </a:lnTo>
                    <a:lnTo>
                      <a:pt x="492" y="498"/>
                    </a:lnTo>
                    <a:close/>
                    <a:moveTo>
                      <a:pt x="502" y="474"/>
                    </a:moveTo>
                    <a:lnTo>
                      <a:pt x="520" y="499"/>
                    </a:lnTo>
                    <a:lnTo>
                      <a:pt x="606" y="400"/>
                    </a:lnTo>
                    <a:lnTo>
                      <a:pt x="505" y="470"/>
                    </a:lnTo>
                    <a:lnTo>
                      <a:pt x="502" y="474"/>
                    </a:lnTo>
                    <a:close/>
                    <a:moveTo>
                      <a:pt x="473" y="493"/>
                    </a:moveTo>
                    <a:lnTo>
                      <a:pt x="490" y="498"/>
                    </a:lnTo>
                    <a:lnTo>
                      <a:pt x="499" y="476"/>
                    </a:lnTo>
                    <a:lnTo>
                      <a:pt x="499" y="474"/>
                    </a:lnTo>
                    <a:lnTo>
                      <a:pt x="473" y="493"/>
                    </a:lnTo>
                    <a:close/>
                    <a:moveTo>
                      <a:pt x="294" y="411"/>
                    </a:moveTo>
                    <a:lnTo>
                      <a:pt x="296" y="495"/>
                    </a:lnTo>
                    <a:lnTo>
                      <a:pt x="455" y="420"/>
                    </a:lnTo>
                    <a:lnTo>
                      <a:pt x="294" y="411"/>
                    </a:lnTo>
                    <a:close/>
                    <a:moveTo>
                      <a:pt x="247" y="430"/>
                    </a:moveTo>
                    <a:lnTo>
                      <a:pt x="293" y="493"/>
                    </a:lnTo>
                    <a:lnTo>
                      <a:pt x="291" y="413"/>
                    </a:lnTo>
                    <a:lnTo>
                      <a:pt x="247" y="430"/>
                    </a:lnTo>
                    <a:close/>
                    <a:moveTo>
                      <a:pt x="462" y="423"/>
                    </a:moveTo>
                    <a:lnTo>
                      <a:pt x="471" y="490"/>
                    </a:lnTo>
                    <a:lnTo>
                      <a:pt x="498" y="473"/>
                    </a:lnTo>
                    <a:lnTo>
                      <a:pt x="462" y="423"/>
                    </a:lnTo>
                    <a:close/>
                    <a:moveTo>
                      <a:pt x="462" y="420"/>
                    </a:moveTo>
                    <a:lnTo>
                      <a:pt x="499" y="471"/>
                    </a:lnTo>
                    <a:lnTo>
                      <a:pt x="502" y="468"/>
                    </a:lnTo>
                    <a:lnTo>
                      <a:pt x="528" y="408"/>
                    </a:lnTo>
                    <a:lnTo>
                      <a:pt x="462" y="420"/>
                    </a:lnTo>
                    <a:close/>
                    <a:moveTo>
                      <a:pt x="531" y="408"/>
                    </a:moveTo>
                    <a:lnTo>
                      <a:pt x="506" y="466"/>
                    </a:lnTo>
                    <a:lnTo>
                      <a:pt x="607" y="395"/>
                    </a:lnTo>
                    <a:lnTo>
                      <a:pt x="531" y="408"/>
                    </a:lnTo>
                    <a:close/>
                    <a:moveTo>
                      <a:pt x="233" y="410"/>
                    </a:moveTo>
                    <a:lnTo>
                      <a:pt x="246" y="427"/>
                    </a:lnTo>
                    <a:lnTo>
                      <a:pt x="287" y="411"/>
                    </a:lnTo>
                    <a:lnTo>
                      <a:pt x="233" y="410"/>
                    </a:lnTo>
                    <a:close/>
                    <a:moveTo>
                      <a:pt x="297" y="410"/>
                    </a:moveTo>
                    <a:lnTo>
                      <a:pt x="460" y="417"/>
                    </a:lnTo>
                    <a:lnTo>
                      <a:pt x="443" y="329"/>
                    </a:lnTo>
                    <a:lnTo>
                      <a:pt x="297" y="410"/>
                    </a:lnTo>
                    <a:close/>
                    <a:moveTo>
                      <a:pt x="568" y="321"/>
                    </a:moveTo>
                    <a:lnTo>
                      <a:pt x="464" y="417"/>
                    </a:lnTo>
                    <a:lnTo>
                      <a:pt x="530" y="405"/>
                    </a:lnTo>
                    <a:lnTo>
                      <a:pt x="568" y="321"/>
                    </a:lnTo>
                    <a:close/>
                    <a:moveTo>
                      <a:pt x="496" y="323"/>
                    </a:moveTo>
                    <a:lnTo>
                      <a:pt x="464" y="414"/>
                    </a:lnTo>
                    <a:lnTo>
                      <a:pt x="568" y="318"/>
                    </a:lnTo>
                    <a:lnTo>
                      <a:pt x="496" y="323"/>
                    </a:lnTo>
                    <a:close/>
                    <a:moveTo>
                      <a:pt x="446" y="328"/>
                    </a:moveTo>
                    <a:lnTo>
                      <a:pt x="461" y="414"/>
                    </a:lnTo>
                    <a:lnTo>
                      <a:pt x="493" y="323"/>
                    </a:lnTo>
                    <a:lnTo>
                      <a:pt x="446" y="328"/>
                    </a:lnTo>
                    <a:close/>
                    <a:moveTo>
                      <a:pt x="231" y="407"/>
                    </a:moveTo>
                    <a:lnTo>
                      <a:pt x="291" y="408"/>
                    </a:lnTo>
                    <a:lnTo>
                      <a:pt x="275" y="328"/>
                    </a:lnTo>
                    <a:lnTo>
                      <a:pt x="205" y="372"/>
                    </a:lnTo>
                    <a:lnTo>
                      <a:pt x="231" y="407"/>
                    </a:lnTo>
                    <a:close/>
                    <a:moveTo>
                      <a:pt x="278" y="328"/>
                    </a:moveTo>
                    <a:lnTo>
                      <a:pt x="293" y="408"/>
                    </a:lnTo>
                    <a:lnTo>
                      <a:pt x="439" y="328"/>
                    </a:lnTo>
                    <a:lnTo>
                      <a:pt x="278" y="328"/>
                    </a:lnTo>
                    <a:close/>
                    <a:moveTo>
                      <a:pt x="154" y="404"/>
                    </a:moveTo>
                    <a:lnTo>
                      <a:pt x="228" y="407"/>
                    </a:lnTo>
                    <a:lnTo>
                      <a:pt x="204" y="373"/>
                    </a:lnTo>
                    <a:lnTo>
                      <a:pt x="154" y="404"/>
                    </a:lnTo>
                    <a:close/>
                    <a:moveTo>
                      <a:pt x="571" y="319"/>
                    </a:moveTo>
                    <a:lnTo>
                      <a:pt x="533" y="405"/>
                    </a:lnTo>
                    <a:lnTo>
                      <a:pt x="610" y="392"/>
                    </a:lnTo>
                    <a:lnTo>
                      <a:pt x="571" y="319"/>
                    </a:lnTo>
                    <a:close/>
                    <a:moveTo>
                      <a:pt x="179" y="334"/>
                    </a:moveTo>
                    <a:lnTo>
                      <a:pt x="204" y="369"/>
                    </a:lnTo>
                    <a:lnTo>
                      <a:pt x="271" y="328"/>
                    </a:lnTo>
                    <a:lnTo>
                      <a:pt x="179" y="334"/>
                    </a:lnTo>
                    <a:close/>
                    <a:moveTo>
                      <a:pt x="208" y="309"/>
                    </a:moveTo>
                    <a:lnTo>
                      <a:pt x="180" y="331"/>
                    </a:lnTo>
                    <a:lnTo>
                      <a:pt x="277" y="325"/>
                    </a:lnTo>
                    <a:lnTo>
                      <a:pt x="277" y="325"/>
                    </a:lnTo>
                    <a:lnTo>
                      <a:pt x="277" y="325"/>
                    </a:lnTo>
                    <a:lnTo>
                      <a:pt x="445" y="326"/>
                    </a:lnTo>
                    <a:lnTo>
                      <a:pt x="493" y="322"/>
                    </a:lnTo>
                    <a:lnTo>
                      <a:pt x="496" y="316"/>
                    </a:lnTo>
                    <a:lnTo>
                      <a:pt x="208" y="309"/>
                    </a:lnTo>
                    <a:close/>
                    <a:moveTo>
                      <a:pt x="168" y="307"/>
                    </a:moveTo>
                    <a:lnTo>
                      <a:pt x="177" y="331"/>
                    </a:lnTo>
                    <a:lnTo>
                      <a:pt x="204" y="307"/>
                    </a:lnTo>
                    <a:lnTo>
                      <a:pt x="168" y="307"/>
                    </a:lnTo>
                    <a:close/>
                    <a:moveTo>
                      <a:pt x="499" y="316"/>
                    </a:moveTo>
                    <a:lnTo>
                      <a:pt x="496" y="322"/>
                    </a:lnTo>
                    <a:lnTo>
                      <a:pt x="549" y="316"/>
                    </a:lnTo>
                    <a:lnTo>
                      <a:pt x="499" y="316"/>
                    </a:lnTo>
                    <a:close/>
                    <a:moveTo>
                      <a:pt x="499" y="313"/>
                    </a:moveTo>
                    <a:lnTo>
                      <a:pt x="569" y="315"/>
                    </a:lnTo>
                    <a:lnTo>
                      <a:pt x="569" y="293"/>
                    </a:lnTo>
                    <a:lnTo>
                      <a:pt x="506" y="291"/>
                    </a:lnTo>
                    <a:lnTo>
                      <a:pt x="499" y="313"/>
                    </a:lnTo>
                    <a:close/>
                    <a:moveTo>
                      <a:pt x="209" y="306"/>
                    </a:moveTo>
                    <a:lnTo>
                      <a:pt x="496" y="313"/>
                    </a:lnTo>
                    <a:lnTo>
                      <a:pt x="505" y="291"/>
                    </a:lnTo>
                    <a:lnTo>
                      <a:pt x="404" y="288"/>
                    </a:lnTo>
                    <a:lnTo>
                      <a:pt x="212" y="303"/>
                    </a:lnTo>
                    <a:lnTo>
                      <a:pt x="209" y="306"/>
                    </a:lnTo>
                    <a:close/>
                    <a:moveTo>
                      <a:pt x="190" y="306"/>
                    </a:moveTo>
                    <a:lnTo>
                      <a:pt x="206" y="306"/>
                    </a:lnTo>
                    <a:lnTo>
                      <a:pt x="209" y="303"/>
                    </a:lnTo>
                    <a:lnTo>
                      <a:pt x="190" y="306"/>
                    </a:lnTo>
                    <a:close/>
                    <a:moveTo>
                      <a:pt x="154" y="280"/>
                    </a:moveTo>
                    <a:lnTo>
                      <a:pt x="168" y="304"/>
                    </a:lnTo>
                    <a:lnTo>
                      <a:pt x="217" y="281"/>
                    </a:lnTo>
                    <a:lnTo>
                      <a:pt x="154" y="280"/>
                    </a:lnTo>
                    <a:close/>
                    <a:moveTo>
                      <a:pt x="223" y="282"/>
                    </a:moveTo>
                    <a:lnTo>
                      <a:pt x="176" y="303"/>
                    </a:lnTo>
                    <a:lnTo>
                      <a:pt x="218" y="296"/>
                    </a:lnTo>
                    <a:lnTo>
                      <a:pt x="234" y="282"/>
                    </a:lnTo>
                    <a:lnTo>
                      <a:pt x="223" y="282"/>
                    </a:lnTo>
                    <a:close/>
                    <a:moveTo>
                      <a:pt x="214" y="300"/>
                    </a:moveTo>
                    <a:lnTo>
                      <a:pt x="198" y="301"/>
                    </a:lnTo>
                    <a:lnTo>
                      <a:pt x="212" y="301"/>
                    </a:lnTo>
                    <a:lnTo>
                      <a:pt x="214" y="300"/>
                    </a:lnTo>
                    <a:close/>
                    <a:moveTo>
                      <a:pt x="218" y="299"/>
                    </a:moveTo>
                    <a:lnTo>
                      <a:pt x="217" y="300"/>
                    </a:lnTo>
                    <a:lnTo>
                      <a:pt x="382" y="287"/>
                    </a:lnTo>
                    <a:lnTo>
                      <a:pt x="305" y="284"/>
                    </a:lnTo>
                    <a:lnTo>
                      <a:pt x="218" y="299"/>
                    </a:lnTo>
                    <a:close/>
                    <a:moveTo>
                      <a:pt x="239" y="282"/>
                    </a:moveTo>
                    <a:lnTo>
                      <a:pt x="223" y="296"/>
                    </a:lnTo>
                    <a:lnTo>
                      <a:pt x="293" y="284"/>
                    </a:lnTo>
                    <a:lnTo>
                      <a:pt x="239" y="282"/>
                    </a:lnTo>
                    <a:close/>
                    <a:moveTo>
                      <a:pt x="508" y="288"/>
                    </a:moveTo>
                    <a:lnTo>
                      <a:pt x="565" y="290"/>
                    </a:lnTo>
                    <a:lnTo>
                      <a:pt x="533" y="277"/>
                    </a:lnTo>
                    <a:lnTo>
                      <a:pt x="511" y="278"/>
                    </a:lnTo>
                    <a:lnTo>
                      <a:pt x="508" y="288"/>
                    </a:lnTo>
                    <a:close/>
                    <a:moveTo>
                      <a:pt x="539" y="277"/>
                    </a:moveTo>
                    <a:lnTo>
                      <a:pt x="571" y="290"/>
                    </a:lnTo>
                    <a:lnTo>
                      <a:pt x="582" y="272"/>
                    </a:lnTo>
                    <a:lnTo>
                      <a:pt x="539" y="277"/>
                    </a:lnTo>
                    <a:close/>
                    <a:moveTo>
                      <a:pt x="424" y="285"/>
                    </a:moveTo>
                    <a:lnTo>
                      <a:pt x="505" y="288"/>
                    </a:lnTo>
                    <a:lnTo>
                      <a:pt x="509" y="280"/>
                    </a:lnTo>
                    <a:lnTo>
                      <a:pt x="424" y="285"/>
                    </a:lnTo>
                    <a:close/>
                    <a:moveTo>
                      <a:pt x="318" y="282"/>
                    </a:moveTo>
                    <a:lnTo>
                      <a:pt x="403" y="285"/>
                    </a:lnTo>
                    <a:lnTo>
                      <a:pt x="509" y="277"/>
                    </a:lnTo>
                    <a:lnTo>
                      <a:pt x="512" y="268"/>
                    </a:lnTo>
                    <a:lnTo>
                      <a:pt x="487" y="258"/>
                    </a:lnTo>
                    <a:lnTo>
                      <a:pt x="479" y="256"/>
                    </a:lnTo>
                    <a:lnTo>
                      <a:pt x="318" y="282"/>
                    </a:lnTo>
                    <a:close/>
                    <a:moveTo>
                      <a:pt x="242" y="280"/>
                    </a:moveTo>
                    <a:lnTo>
                      <a:pt x="305" y="282"/>
                    </a:lnTo>
                    <a:lnTo>
                      <a:pt x="471" y="255"/>
                    </a:lnTo>
                    <a:lnTo>
                      <a:pt x="451" y="252"/>
                    </a:lnTo>
                    <a:lnTo>
                      <a:pt x="253" y="269"/>
                    </a:lnTo>
                    <a:lnTo>
                      <a:pt x="242" y="280"/>
                    </a:lnTo>
                    <a:close/>
                    <a:moveTo>
                      <a:pt x="228" y="280"/>
                    </a:moveTo>
                    <a:lnTo>
                      <a:pt x="237" y="280"/>
                    </a:lnTo>
                    <a:lnTo>
                      <a:pt x="249" y="271"/>
                    </a:lnTo>
                    <a:lnTo>
                      <a:pt x="247" y="271"/>
                    </a:lnTo>
                    <a:lnTo>
                      <a:pt x="228" y="280"/>
                    </a:lnTo>
                    <a:close/>
                    <a:moveTo>
                      <a:pt x="171" y="278"/>
                    </a:moveTo>
                    <a:lnTo>
                      <a:pt x="223" y="280"/>
                    </a:lnTo>
                    <a:lnTo>
                      <a:pt x="240" y="271"/>
                    </a:lnTo>
                    <a:lnTo>
                      <a:pt x="171" y="278"/>
                    </a:lnTo>
                    <a:close/>
                    <a:moveTo>
                      <a:pt x="173" y="255"/>
                    </a:moveTo>
                    <a:lnTo>
                      <a:pt x="155" y="277"/>
                    </a:lnTo>
                    <a:lnTo>
                      <a:pt x="246" y="268"/>
                    </a:lnTo>
                    <a:lnTo>
                      <a:pt x="258" y="263"/>
                    </a:lnTo>
                    <a:lnTo>
                      <a:pt x="272" y="250"/>
                    </a:lnTo>
                    <a:lnTo>
                      <a:pt x="173" y="255"/>
                    </a:lnTo>
                    <a:close/>
                    <a:moveTo>
                      <a:pt x="515" y="269"/>
                    </a:moveTo>
                    <a:lnTo>
                      <a:pt x="512" y="277"/>
                    </a:lnTo>
                    <a:lnTo>
                      <a:pt x="528" y="275"/>
                    </a:lnTo>
                    <a:lnTo>
                      <a:pt x="515" y="269"/>
                    </a:lnTo>
                    <a:close/>
                    <a:moveTo>
                      <a:pt x="515" y="266"/>
                    </a:moveTo>
                    <a:lnTo>
                      <a:pt x="534" y="274"/>
                    </a:lnTo>
                    <a:lnTo>
                      <a:pt x="575" y="271"/>
                    </a:lnTo>
                    <a:lnTo>
                      <a:pt x="518" y="262"/>
                    </a:lnTo>
                    <a:lnTo>
                      <a:pt x="515" y="266"/>
                    </a:lnTo>
                    <a:close/>
                    <a:moveTo>
                      <a:pt x="518" y="259"/>
                    </a:moveTo>
                    <a:lnTo>
                      <a:pt x="584" y="269"/>
                    </a:lnTo>
                    <a:lnTo>
                      <a:pt x="572" y="240"/>
                    </a:lnTo>
                    <a:lnTo>
                      <a:pt x="522" y="249"/>
                    </a:lnTo>
                    <a:lnTo>
                      <a:pt x="518" y="259"/>
                    </a:lnTo>
                    <a:close/>
                    <a:moveTo>
                      <a:pt x="259" y="265"/>
                    </a:moveTo>
                    <a:lnTo>
                      <a:pt x="256" y="268"/>
                    </a:lnTo>
                    <a:lnTo>
                      <a:pt x="442" y="250"/>
                    </a:lnTo>
                    <a:lnTo>
                      <a:pt x="414" y="246"/>
                    </a:lnTo>
                    <a:lnTo>
                      <a:pt x="293" y="250"/>
                    </a:lnTo>
                    <a:lnTo>
                      <a:pt x="259" y="265"/>
                    </a:lnTo>
                    <a:close/>
                    <a:moveTo>
                      <a:pt x="498" y="259"/>
                    </a:moveTo>
                    <a:lnTo>
                      <a:pt x="514" y="265"/>
                    </a:lnTo>
                    <a:lnTo>
                      <a:pt x="515" y="262"/>
                    </a:lnTo>
                    <a:lnTo>
                      <a:pt x="498" y="259"/>
                    </a:lnTo>
                    <a:close/>
                    <a:moveTo>
                      <a:pt x="489" y="255"/>
                    </a:moveTo>
                    <a:lnTo>
                      <a:pt x="515" y="259"/>
                    </a:lnTo>
                    <a:lnTo>
                      <a:pt x="520" y="249"/>
                    </a:lnTo>
                    <a:lnTo>
                      <a:pt x="487" y="255"/>
                    </a:lnTo>
                    <a:lnTo>
                      <a:pt x="489" y="255"/>
                    </a:lnTo>
                    <a:close/>
                    <a:moveTo>
                      <a:pt x="277" y="250"/>
                    </a:moveTo>
                    <a:lnTo>
                      <a:pt x="266" y="259"/>
                    </a:lnTo>
                    <a:lnTo>
                      <a:pt x="285" y="250"/>
                    </a:lnTo>
                    <a:lnTo>
                      <a:pt x="277" y="250"/>
                    </a:lnTo>
                    <a:close/>
                    <a:moveTo>
                      <a:pt x="461" y="250"/>
                    </a:moveTo>
                    <a:lnTo>
                      <a:pt x="479" y="253"/>
                    </a:lnTo>
                    <a:lnTo>
                      <a:pt x="479" y="253"/>
                    </a:lnTo>
                    <a:lnTo>
                      <a:pt x="471" y="250"/>
                    </a:lnTo>
                    <a:lnTo>
                      <a:pt x="461" y="250"/>
                    </a:lnTo>
                    <a:close/>
                    <a:moveTo>
                      <a:pt x="476" y="249"/>
                    </a:moveTo>
                    <a:lnTo>
                      <a:pt x="483" y="253"/>
                    </a:lnTo>
                    <a:lnTo>
                      <a:pt x="520" y="246"/>
                    </a:lnTo>
                    <a:lnTo>
                      <a:pt x="521" y="244"/>
                    </a:lnTo>
                    <a:lnTo>
                      <a:pt x="476" y="249"/>
                    </a:lnTo>
                    <a:close/>
                    <a:moveTo>
                      <a:pt x="154" y="228"/>
                    </a:moveTo>
                    <a:lnTo>
                      <a:pt x="173" y="252"/>
                    </a:lnTo>
                    <a:lnTo>
                      <a:pt x="283" y="243"/>
                    </a:lnTo>
                    <a:lnTo>
                      <a:pt x="296" y="231"/>
                    </a:lnTo>
                    <a:lnTo>
                      <a:pt x="154" y="228"/>
                    </a:lnTo>
                    <a:close/>
                    <a:moveTo>
                      <a:pt x="278" y="246"/>
                    </a:moveTo>
                    <a:lnTo>
                      <a:pt x="230" y="250"/>
                    </a:lnTo>
                    <a:lnTo>
                      <a:pt x="277" y="249"/>
                    </a:lnTo>
                    <a:lnTo>
                      <a:pt x="278" y="246"/>
                    </a:lnTo>
                    <a:close/>
                    <a:moveTo>
                      <a:pt x="427" y="246"/>
                    </a:moveTo>
                    <a:lnTo>
                      <a:pt x="452" y="249"/>
                    </a:lnTo>
                    <a:lnTo>
                      <a:pt x="465" y="247"/>
                    </a:lnTo>
                    <a:lnTo>
                      <a:pt x="458" y="244"/>
                    </a:lnTo>
                    <a:lnTo>
                      <a:pt x="427" y="246"/>
                    </a:lnTo>
                    <a:close/>
                    <a:moveTo>
                      <a:pt x="283" y="246"/>
                    </a:moveTo>
                    <a:lnTo>
                      <a:pt x="280" y="247"/>
                    </a:lnTo>
                    <a:lnTo>
                      <a:pt x="291" y="247"/>
                    </a:lnTo>
                    <a:lnTo>
                      <a:pt x="299" y="244"/>
                    </a:lnTo>
                    <a:lnTo>
                      <a:pt x="283" y="246"/>
                    </a:lnTo>
                    <a:close/>
                    <a:moveTo>
                      <a:pt x="306" y="244"/>
                    </a:moveTo>
                    <a:lnTo>
                      <a:pt x="299" y="247"/>
                    </a:lnTo>
                    <a:lnTo>
                      <a:pt x="403" y="243"/>
                    </a:lnTo>
                    <a:lnTo>
                      <a:pt x="370" y="239"/>
                    </a:lnTo>
                    <a:lnTo>
                      <a:pt x="306" y="244"/>
                    </a:lnTo>
                    <a:close/>
                    <a:moveTo>
                      <a:pt x="464" y="244"/>
                    </a:moveTo>
                    <a:lnTo>
                      <a:pt x="471" y="247"/>
                    </a:lnTo>
                    <a:lnTo>
                      <a:pt x="521" y="243"/>
                    </a:lnTo>
                    <a:lnTo>
                      <a:pt x="522" y="241"/>
                    </a:lnTo>
                    <a:lnTo>
                      <a:pt x="464" y="244"/>
                    </a:lnTo>
                    <a:close/>
                    <a:moveTo>
                      <a:pt x="524" y="244"/>
                    </a:moveTo>
                    <a:lnTo>
                      <a:pt x="522" y="246"/>
                    </a:lnTo>
                    <a:lnTo>
                      <a:pt x="539" y="243"/>
                    </a:lnTo>
                    <a:lnTo>
                      <a:pt x="524" y="244"/>
                    </a:lnTo>
                    <a:close/>
                    <a:moveTo>
                      <a:pt x="381" y="239"/>
                    </a:moveTo>
                    <a:lnTo>
                      <a:pt x="414" y="243"/>
                    </a:lnTo>
                    <a:lnTo>
                      <a:pt x="452" y="241"/>
                    </a:lnTo>
                    <a:lnTo>
                      <a:pt x="439" y="236"/>
                    </a:lnTo>
                    <a:lnTo>
                      <a:pt x="414" y="236"/>
                    </a:lnTo>
                    <a:lnTo>
                      <a:pt x="381" y="239"/>
                    </a:lnTo>
                    <a:close/>
                    <a:moveTo>
                      <a:pt x="300" y="233"/>
                    </a:moveTo>
                    <a:lnTo>
                      <a:pt x="287" y="243"/>
                    </a:lnTo>
                    <a:lnTo>
                      <a:pt x="305" y="241"/>
                    </a:lnTo>
                    <a:lnTo>
                      <a:pt x="324" y="233"/>
                    </a:lnTo>
                    <a:lnTo>
                      <a:pt x="300" y="233"/>
                    </a:lnTo>
                    <a:close/>
                    <a:moveTo>
                      <a:pt x="524" y="241"/>
                    </a:moveTo>
                    <a:lnTo>
                      <a:pt x="524" y="241"/>
                    </a:lnTo>
                    <a:lnTo>
                      <a:pt x="531" y="241"/>
                    </a:lnTo>
                    <a:lnTo>
                      <a:pt x="524" y="241"/>
                    </a:lnTo>
                    <a:close/>
                    <a:moveTo>
                      <a:pt x="446" y="236"/>
                    </a:moveTo>
                    <a:lnTo>
                      <a:pt x="458" y="241"/>
                    </a:lnTo>
                    <a:lnTo>
                      <a:pt x="522" y="240"/>
                    </a:lnTo>
                    <a:lnTo>
                      <a:pt x="522" y="239"/>
                    </a:lnTo>
                    <a:lnTo>
                      <a:pt x="446" y="236"/>
                    </a:lnTo>
                    <a:close/>
                    <a:moveTo>
                      <a:pt x="329" y="233"/>
                    </a:moveTo>
                    <a:lnTo>
                      <a:pt x="312" y="241"/>
                    </a:lnTo>
                    <a:lnTo>
                      <a:pt x="360" y="237"/>
                    </a:lnTo>
                    <a:lnTo>
                      <a:pt x="334" y="233"/>
                    </a:lnTo>
                    <a:lnTo>
                      <a:pt x="329" y="233"/>
                    </a:lnTo>
                    <a:close/>
                    <a:moveTo>
                      <a:pt x="525" y="239"/>
                    </a:moveTo>
                    <a:lnTo>
                      <a:pt x="525" y="240"/>
                    </a:lnTo>
                    <a:lnTo>
                      <a:pt x="536" y="239"/>
                    </a:lnTo>
                    <a:lnTo>
                      <a:pt x="525" y="239"/>
                    </a:lnTo>
                    <a:close/>
                    <a:moveTo>
                      <a:pt x="527" y="236"/>
                    </a:moveTo>
                    <a:lnTo>
                      <a:pt x="572" y="237"/>
                    </a:lnTo>
                    <a:lnTo>
                      <a:pt x="587" y="222"/>
                    </a:lnTo>
                    <a:lnTo>
                      <a:pt x="530" y="227"/>
                    </a:lnTo>
                    <a:lnTo>
                      <a:pt x="527" y="236"/>
                    </a:lnTo>
                    <a:close/>
                    <a:moveTo>
                      <a:pt x="354" y="234"/>
                    </a:moveTo>
                    <a:lnTo>
                      <a:pt x="370" y="236"/>
                    </a:lnTo>
                    <a:lnTo>
                      <a:pt x="391" y="234"/>
                    </a:lnTo>
                    <a:lnTo>
                      <a:pt x="354" y="234"/>
                    </a:lnTo>
                    <a:close/>
                    <a:moveTo>
                      <a:pt x="439" y="234"/>
                    </a:moveTo>
                    <a:lnTo>
                      <a:pt x="524" y="236"/>
                    </a:lnTo>
                    <a:lnTo>
                      <a:pt x="527" y="227"/>
                    </a:lnTo>
                    <a:lnTo>
                      <a:pt x="439" y="233"/>
                    </a:lnTo>
                    <a:lnTo>
                      <a:pt x="439" y="234"/>
                    </a:lnTo>
                    <a:close/>
                    <a:moveTo>
                      <a:pt x="335" y="231"/>
                    </a:moveTo>
                    <a:lnTo>
                      <a:pt x="414" y="233"/>
                    </a:lnTo>
                    <a:lnTo>
                      <a:pt x="429" y="231"/>
                    </a:lnTo>
                    <a:lnTo>
                      <a:pt x="391" y="215"/>
                    </a:lnTo>
                    <a:lnTo>
                      <a:pt x="369" y="215"/>
                    </a:lnTo>
                    <a:lnTo>
                      <a:pt x="335" y="231"/>
                    </a:lnTo>
                    <a:close/>
                    <a:moveTo>
                      <a:pt x="398" y="215"/>
                    </a:moveTo>
                    <a:lnTo>
                      <a:pt x="435" y="231"/>
                    </a:lnTo>
                    <a:lnTo>
                      <a:pt x="528" y="224"/>
                    </a:lnTo>
                    <a:lnTo>
                      <a:pt x="530" y="219"/>
                    </a:lnTo>
                    <a:lnTo>
                      <a:pt x="398" y="215"/>
                    </a:lnTo>
                    <a:close/>
                    <a:moveTo>
                      <a:pt x="303" y="230"/>
                    </a:moveTo>
                    <a:lnTo>
                      <a:pt x="315" y="230"/>
                    </a:lnTo>
                    <a:lnTo>
                      <a:pt x="305" y="228"/>
                    </a:lnTo>
                    <a:lnTo>
                      <a:pt x="303" y="230"/>
                    </a:lnTo>
                    <a:close/>
                    <a:moveTo>
                      <a:pt x="306" y="227"/>
                    </a:moveTo>
                    <a:lnTo>
                      <a:pt x="331" y="230"/>
                    </a:lnTo>
                    <a:lnTo>
                      <a:pt x="364" y="214"/>
                    </a:lnTo>
                    <a:lnTo>
                      <a:pt x="325" y="214"/>
                    </a:lnTo>
                    <a:lnTo>
                      <a:pt x="322" y="214"/>
                    </a:lnTo>
                    <a:lnTo>
                      <a:pt x="306" y="227"/>
                    </a:lnTo>
                    <a:close/>
                    <a:moveTo>
                      <a:pt x="173" y="225"/>
                    </a:moveTo>
                    <a:lnTo>
                      <a:pt x="299" y="230"/>
                    </a:lnTo>
                    <a:lnTo>
                      <a:pt x="300" y="228"/>
                    </a:lnTo>
                    <a:lnTo>
                      <a:pt x="249" y="219"/>
                    </a:lnTo>
                    <a:lnTo>
                      <a:pt x="173" y="225"/>
                    </a:lnTo>
                    <a:close/>
                    <a:moveTo>
                      <a:pt x="259" y="218"/>
                    </a:moveTo>
                    <a:lnTo>
                      <a:pt x="303" y="225"/>
                    </a:lnTo>
                    <a:lnTo>
                      <a:pt x="318" y="214"/>
                    </a:lnTo>
                    <a:lnTo>
                      <a:pt x="259" y="218"/>
                    </a:lnTo>
                    <a:close/>
                    <a:moveTo>
                      <a:pt x="177" y="208"/>
                    </a:moveTo>
                    <a:lnTo>
                      <a:pt x="155" y="225"/>
                    </a:lnTo>
                    <a:lnTo>
                      <a:pt x="239" y="218"/>
                    </a:lnTo>
                    <a:lnTo>
                      <a:pt x="177" y="208"/>
                    </a:lnTo>
                    <a:close/>
                    <a:moveTo>
                      <a:pt x="533" y="219"/>
                    </a:moveTo>
                    <a:lnTo>
                      <a:pt x="531" y="224"/>
                    </a:lnTo>
                    <a:lnTo>
                      <a:pt x="568" y="221"/>
                    </a:lnTo>
                    <a:lnTo>
                      <a:pt x="533" y="219"/>
                    </a:lnTo>
                    <a:close/>
                    <a:moveTo>
                      <a:pt x="533" y="218"/>
                    </a:moveTo>
                    <a:lnTo>
                      <a:pt x="588" y="219"/>
                    </a:lnTo>
                    <a:lnTo>
                      <a:pt x="569" y="193"/>
                    </a:lnTo>
                    <a:lnTo>
                      <a:pt x="541" y="195"/>
                    </a:lnTo>
                    <a:lnTo>
                      <a:pt x="533" y="218"/>
                    </a:lnTo>
                    <a:close/>
                    <a:moveTo>
                      <a:pt x="392" y="212"/>
                    </a:moveTo>
                    <a:lnTo>
                      <a:pt x="531" y="217"/>
                    </a:lnTo>
                    <a:lnTo>
                      <a:pt x="539" y="195"/>
                    </a:lnTo>
                    <a:lnTo>
                      <a:pt x="383" y="208"/>
                    </a:lnTo>
                    <a:lnTo>
                      <a:pt x="382" y="209"/>
                    </a:lnTo>
                    <a:lnTo>
                      <a:pt x="392" y="212"/>
                    </a:lnTo>
                    <a:close/>
                    <a:moveTo>
                      <a:pt x="198" y="209"/>
                    </a:moveTo>
                    <a:lnTo>
                      <a:pt x="249" y="217"/>
                    </a:lnTo>
                    <a:lnTo>
                      <a:pt x="303" y="212"/>
                    </a:lnTo>
                    <a:lnTo>
                      <a:pt x="198" y="209"/>
                    </a:lnTo>
                    <a:close/>
                    <a:moveTo>
                      <a:pt x="375" y="212"/>
                    </a:moveTo>
                    <a:lnTo>
                      <a:pt x="385" y="212"/>
                    </a:lnTo>
                    <a:lnTo>
                      <a:pt x="379" y="211"/>
                    </a:lnTo>
                    <a:lnTo>
                      <a:pt x="375" y="212"/>
                    </a:lnTo>
                    <a:close/>
                    <a:moveTo>
                      <a:pt x="345" y="211"/>
                    </a:moveTo>
                    <a:lnTo>
                      <a:pt x="369" y="212"/>
                    </a:lnTo>
                    <a:lnTo>
                      <a:pt x="376" y="209"/>
                    </a:lnTo>
                    <a:lnTo>
                      <a:pt x="376" y="209"/>
                    </a:lnTo>
                    <a:lnTo>
                      <a:pt x="345" y="211"/>
                    </a:lnTo>
                    <a:close/>
                    <a:moveTo>
                      <a:pt x="195" y="206"/>
                    </a:moveTo>
                    <a:lnTo>
                      <a:pt x="322" y="211"/>
                    </a:lnTo>
                    <a:lnTo>
                      <a:pt x="341" y="193"/>
                    </a:lnTo>
                    <a:lnTo>
                      <a:pt x="334" y="190"/>
                    </a:lnTo>
                    <a:lnTo>
                      <a:pt x="195" y="206"/>
                    </a:lnTo>
                    <a:close/>
                    <a:moveTo>
                      <a:pt x="344" y="195"/>
                    </a:moveTo>
                    <a:lnTo>
                      <a:pt x="325" y="211"/>
                    </a:lnTo>
                    <a:lnTo>
                      <a:pt x="372" y="206"/>
                    </a:lnTo>
                    <a:lnTo>
                      <a:pt x="344" y="195"/>
                    </a:lnTo>
                    <a:close/>
                    <a:moveTo>
                      <a:pt x="347" y="193"/>
                    </a:moveTo>
                    <a:lnTo>
                      <a:pt x="376" y="206"/>
                    </a:lnTo>
                    <a:lnTo>
                      <a:pt x="383" y="206"/>
                    </a:lnTo>
                    <a:lnTo>
                      <a:pt x="426" y="186"/>
                    </a:lnTo>
                    <a:lnTo>
                      <a:pt x="386" y="184"/>
                    </a:lnTo>
                    <a:lnTo>
                      <a:pt x="353" y="189"/>
                    </a:lnTo>
                    <a:lnTo>
                      <a:pt x="347" y="193"/>
                    </a:lnTo>
                    <a:close/>
                    <a:moveTo>
                      <a:pt x="183" y="176"/>
                    </a:moveTo>
                    <a:lnTo>
                      <a:pt x="179" y="205"/>
                    </a:lnTo>
                    <a:lnTo>
                      <a:pt x="294" y="180"/>
                    </a:lnTo>
                    <a:lnTo>
                      <a:pt x="183" y="176"/>
                    </a:lnTo>
                    <a:close/>
                    <a:moveTo>
                      <a:pt x="430" y="186"/>
                    </a:moveTo>
                    <a:lnTo>
                      <a:pt x="391" y="205"/>
                    </a:lnTo>
                    <a:lnTo>
                      <a:pt x="540" y="193"/>
                    </a:lnTo>
                    <a:lnTo>
                      <a:pt x="540" y="192"/>
                    </a:lnTo>
                    <a:lnTo>
                      <a:pt x="430" y="186"/>
                    </a:lnTo>
                    <a:close/>
                    <a:moveTo>
                      <a:pt x="305" y="181"/>
                    </a:moveTo>
                    <a:lnTo>
                      <a:pt x="202" y="203"/>
                    </a:lnTo>
                    <a:lnTo>
                      <a:pt x="329" y="189"/>
                    </a:lnTo>
                    <a:lnTo>
                      <a:pt x="313" y="181"/>
                    </a:lnTo>
                    <a:lnTo>
                      <a:pt x="305" y="181"/>
                    </a:lnTo>
                    <a:close/>
                    <a:moveTo>
                      <a:pt x="543" y="192"/>
                    </a:moveTo>
                    <a:lnTo>
                      <a:pt x="541" y="192"/>
                    </a:lnTo>
                    <a:lnTo>
                      <a:pt x="550" y="192"/>
                    </a:lnTo>
                    <a:lnTo>
                      <a:pt x="543" y="192"/>
                    </a:lnTo>
                    <a:close/>
                    <a:moveTo>
                      <a:pt x="340" y="190"/>
                    </a:moveTo>
                    <a:lnTo>
                      <a:pt x="344" y="192"/>
                    </a:lnTo>
                    <a:lnTo>
                      <a:pt x="347" y="189"/>
                    </a:lnTo>
                    <a:lnTo>
                      <a:pt x="340" y="190"/>
                    </a:lnTo>
                    <a:close/>
                    <a:moveTo>
                      <a:pt x="543" y="189"/>
                    </a:moveTo>
                    <a:lnTo>
                      <a:pt x="569" y="190"/>
                    </a:lnTo>
                    <a:lnTo>
                      <a:pt x="587" y="162"/>
                    </a:lnTo>
                    <a:lnTo>
                      <a:pt x="552" y="165"/>
                    </a:lnTo>
                    <a:lnTo>
                      <a:pt x="543" y="189"/>
                    </a:lnTo>
                    <a:close/>
                    <a:moveTo>
                      <a:pt x="436" y="184"/>
                    </a:moveTo>
                    <a:lnTo>
                      <a:pt x="540" y="189"/>
                    </a:lnTo>
                    <a:lnTo>
                      <a:pt x="549" y="167"/>
                    </a:lnTo>
                    <a:lnTo>
                      <a:pt x="451" y="177"/>
                    </a:lnTo>
                    <a:lnTo>
                      <a:pt x="436" y="184"/>
                    </a:lnTo>
                    <a:close/>
                    <a:moveTo>
                      <a:pt x="321" y="181"/>
                    </a:moveTo>
                    <a:lnTo>
                      <a:pt x="335" y="187"/>
                    </a:lnTo>
                    <a:lnTo>
                      <a:pt x="351" y="186"/>
                    </a:lnTo>
                    <a:lnTo>
                      <a:pt x="354" y="183"/>
                    </a:lnTo>
                    <a:lnTo>
                      <a:pt x="321" y="181"/>
                    </a:lnTo>
                    <a:close/>
                    <a:moveTo>
                      <a:pt x="359" y="183"/>
                    </a:moveTo>
                    <a:lnTo>
                      <a:pt x="356" y="186"/>
                    </a:lnTo>
                    <a:lnTo>
                      <a:pt x="370" y="184"/>
                    </a:lnTo>
                    <a:lnTo>
                      <a:pt x="359" y="183"/>
                    </a:lnTo>
                    <a:close/>
                    <a:moveTo>
                      <a:pt x="403" y="183"/>
                    </a:moveTo>
                    <a:lnTo>
                      <a:pt x="430" y="184"/>
                    </a:lnTo>
                    <a:lnTo>
                      <a:pt x="443" y="178"/>
                    </a:lnTo>
                    <a:lnTo>
                      <a:pt x="403" y="183"/>
                    </a:lnTo>
                    <a:close/>
                    <a:moveTo>
                      <a:pt x="362" y="181"/>
                    </a:moveTo>
                    <a:lnTo>
                      <a:pt x="386" y="181"/>
                    </a:lnTo>
                    <a:lnTo>
                      <a:pt x="451" y="174"/>
                    </a:lnTo>
                    <a:lnTo>
                      <a:pt x="498" y="154"/>
                    </a:lnTo>
                    <a:lnTo>
                      <a:pt x="451" y="149"/>
                    </a:lnTo>
                    <a:lnTo>
                      <a:pt x="381" y="164"/>
                    </a:lnTo>
                    <a:lnTo>
                      <a:pt x="362" y="181"/>
                    </a:lnTo>
                    <a:close/>
                    <a:moveTo>
                      <a:pt x="313" y="178"/>
                    </a:moveTo>
                    <a:lnTo>
                      <a:pt x="357" y="181"/>
                    </a:lnTo>
                    <a:lnTo>
                      <a:pt x="376" y="165"/>
                    </a:lnTo>
                    <a:lnTo>
                      <a:pt x="313" y="178"/>
                    </a:lnTo>
                    <a:close/>
                    <a:moveTo>
                      <a:pt x="183" y="174"/>
                    </a:moveTo>
                    <a:lnTo>
                      <a:pt x="305" y="178"/>
                    </a:lnTo>
                    <a:lnTo>
                      <a:pt x="306" y="178"/>
                    </a:lnTo>
                    <a:lnTo>
                      <a:pt x="268" y="162"/>
                    </a:lnTo>
                    <a:lnTo>
                      <a:pt x="183" y="173"/>
                    </a:lnTo>
                    <a:lnTo>
                      <a:pt x="183" y="174"/>
                    </a:lnTo>
                    <a:close/>
                    <a:moveTo>
                      <a:pt x="272" y="161"/>
                    </a:moveTo>
                    <a:lnTo>
                      <a:pt x="310" y="177"/>
                    </a:lnTo>
                    <a:lnTo>
                      <a:pt x="381" y="162"/>
                    </a:lnTo>
                    <a:lnTo>
                      <a:pt x="401" y="145"/>
                    </a:lnTo>
                    <a:lnTo>
                      <a:pt x="272" y="161"/>
                    </a:lnTo>
                    <a:close/>
                    <a:moveTo>
                      <a:pt x="502" y="154"/>
                    </a:moveTo>
                    <a:lnTo>
                      <a:pt x="458" y="174"/>
                    </a:lnTo>
                    <a:lnTo>
                      <a:pt x="550" y="164"/>
                    </a:lnTo>
                    <a:lnTo>
                      <a:pt x="552" y="158"/>
                    </a:lnTo>
                    <a:lnTo>
                      <a:pt x="502" y="154"/>
                    </a:lnTo>
                    <a:close/>
                    <a:moveTo>
                      <a:pt x="187" y="127"/>
                    </a:moveTo>
                    <a:lnTo>
                      <a:pt x="183" y="170"/>
                    </a:lnTo>
                    <a:lnTo>
                      <a:pt x="264" y="159"/>
                    </a:lnTo>
                    <a:lnTo>
                      <a:pt x="187" y="127"/>
                    </a:lnTo>
                    <a:close/>
                    <a:moveTo>
                      <a:pt x="555" y="158"/>
                    </a:moveTo>
                    <a:lnTo>
                      <a:pt x="552" y="164"/>
                    </a:lnTo>
                    <a:lnTo>
                      <a:pt x="577" y="161"/>
                    </a:lnTo>
                    <a:lnTo>
                      <a:pt x="555" y="158"/>
                    </a:lnTo>
                    <a:close/>
                    <a:moveTo>
                      <a:pt x="404" y="145"/>
                    </a:moveTo>
                    <a:lnTo>
                      <a:pt x="385" y="161"/>
                    </a:lnTo>
                    <a:lnTo>
                      <a:pt x="442" y="149"/>
                    </a:lnTo>
                    <a:lnTo>
                      <a:pt x="404" y="145"/>
                    </a:lnTo>
                    <a:close/>
                    <a:moveTo>
                      <a:pt x="195" y="127"/>
                    </a:moveTo>
                    <a:lnTo>
                      <a:pt x="268" y="159"/>
                    </a:lnTo>
                    <a:lnTo>
                      <a:pt x="389" y="145"/>
                    </a:lnTo>
                    <a:lnTo>
                      <a:pt x="195" y="127"/>
                    </a:lnTo>
                    <a:close/>
                    <a:moveTo>
                      <a:pt x="555" y="157"/>
                    </a:moveTo>
                    <a:lnTo>
                      <a:pt x="587" y="159"/>
                    </a:lnTo>
                    <a:lnTo>
                      <a:pt x="565" y="126"/>
                    </a:lnTo>
                    <a:lnTo>
                      <a:pt x="555" y="157"/>
                    </a:lnTo>
                    <a:close/>
                    <a:moveTo>
                      <a:pt x="506" y="152"/>
                    </a:moveTo>
                    <a:lnTo>
                      <a:pt x="552" y="155"/>
                    </a:lnTo>
                    <a:lnTo>
                      <a:pt x="563" y="126"/>
                    </a:lnTo>
                    <a:lnTo>
                      <a:pt x="506" y="152"/>
                    </a:lnTo>
                    <a:close/>
                    <a:moveTo>
                      <a:pt x="460" y="148"/>
                    </a:moveTo>
                    <a:lnTo>
                      <a:pt x="502" y="151"/>
                    </a:lnTo>
                    <a:lnTo>
                      <a:pt x="555" y="127"/>
                    </a:lnTo>
                    <a:lnTo>
                      <a:pt x="460" y="148"/>
                    </a:lnTo>
                    <a:close/>
                    <a:moveTo>
                      <a:pt x="413" y="143"/>
                    </a:moveTo>
                    <a:lnTo>
                      <a:pt x="451" y="146"/>
                    </a:lnTo>
                    <a:lnTo>
                      <a:pt x="537" y="129"/>
                    </a:lnTo>
                    <a:lnTo>
                      <a:pt x="413" y="143"/>
                    </a:lnTo>
                    <a:close/>
                    <a:moveTo>
                      <a:pt x="214" y="126"/>
                    </a:moveTo>
                    <a:lnTo>
                      <a:pt x="401" y="143"/>
                    </a:lnTo>
                    <a:lnTo>
                      <a:pt x="404" y="142"/>
                    </a:lnTo>
                    <a:lnTo>
                      <a:pt x="424" y="126"/>
                    </a:lnTo>
                    <a:lnTo>
                      <a:pt x="214" y="126"/>
                    </a:lnTo>
                    <a:close/>
                    <a:moveTo>
                      <a:pt x="429" y="126"/>
                    </a:moveTo>
                    <a:lnTo>
                      <a:pt x="408" y="142"/>
                    </a:lnTo>
                    <a:lnTo>
                      <a:pt x="544" y="124"/>
                    </a:lnTo>
                    <a:lnTo>
                      <a:pt x="429" y="126"/>
                    </a:lnTo>
                    <a:close/>
                    <a:moveTo>
                      <a:pt x="530" y="19"/>
                    </a:moveTo>
                    <a:lnTo>
                      <a:pt x="195" y="124"/>
                    </a:lnTo>
                    <a:lnTo>
                      <a:pt x="427" y="123"/>
                    </a:lnTo>
                    <a:lnTo>
                      <a:pt x="550" y="22"/>
                    </a:lnTo>
                    <a:lnTo>
                      <a:pt x="530" y="19"/>
                    </a:lnTo>
                    <a:close/>
                    <a:moveTo>
                      <a:pt x="553" y="22"/>
                    </a:moveTo>
                    <a:lnTo>
                      <a:pt x="432" y="123"/>
                    </a:lnTo>
                    <a:lnTo>
                      <a:pt x="563" y="123"/>
                    </a:lnTo>
                    <a:lnTo>
                      <a:pt x="600" y="45"/>
                    </a:lnTo>
                    <a:lnTo>
                      <a:pt x="588" y="28"/>
                    </a:lnTo>
                    <a:lnTo>
                      <a:pt x="553" y="22"/>
                    </a:lnTo>
                    <a:close/>
                    <a:moveTo>
                      <a:pt x="601" y="50"/>
                    </a:moveTo>
                    <a:lnTo>
                      <a:pt x="566" y="123"/>
                    </a:lnTo>
                    <a:lnTo>
                      <a:pt x="609" y="120"/>
                    </a:lnTo>
                    <a:lnTo>
                      <a:pt x="601" y="50"/>
                    </a:lnTo>
                    <a:close/>
                    <a:moveTo>
                      <a:pt x="426" y="3"/>
                    </a:moveTo>
                    <a:lnTo>
                      <a:pt x="201" y="120"/>
                    </a:lnTo>
                    <a:lnTo>
                      <a:pt x="525" y="17"/>
                    </a:lnTo>
                    <a:lnTo>
                      <a:pt x="426" y="3"/>
                    </a:lnTo>
                    <a:close/>
                    <a:moveTo>
                      <a:pt x="591" y="28"/>
                    </a:moveTo>
                    <a:lnTo>
                      <a:pt x="603" y="44"/>
                    </a:lnTo>
                    <a:lnTo>
                      <a:pt x="683" y="42"/>
                    </a:lnTo>
                    <a:lnTo>
                      <a:pt x="591" y="28"/>
                    </a:lnTo>
                    <a:close/>
                    <a:moveTo>
                      <a:pt x="590" y="25"/>
                    </a:moveTo>
                    <a:lnTo>
                      <a:pt x="682" y="39"/>
                    </a:lnTo>
                    <a:lnTo>
                      <a:pt x="577" y="6"/>
                    </a:lnTo>
                    <a:lnTo>
                      <a:pt x="590" y="25"/>
                    </a:lnTo>
                    <a:close/>
                    <a:moveTo>
                      <a:pt x="582" y="6"/>
                    </a:moveTo>
                    <a:lnTo>
                      <a:pt x="673" y="34"/>
                    </a:lnTo>
                    <a:lnTo>
                      <a:pt x="609" y="6"/>
                    </a:lnTo>
                    <a:lnTo>
                      <a:pt x="582" y="6"/>
                    </a:lnTo>
                    <a:close/>
                    <a:moveTo>
                      <a:pt x="556" y="20"/>
                    </a:moveTo>
                    <a:lnTo>
                      <a:pt x="587" y="25"/>
                    </a:lnTo>
                    <a:lnTo>
                      <a:pt x="574" y="6"/>
                    </a:lnTo>
                    <a:lnTo>
                      <a:pt x="556" y="20"/>
                    </a:lnTo>
                    <a:close/>
                    <a:moveTo>
                      <a:pt x="536" y="17"/>
                    </a:moveTo>
                    <a:lnTo>
                      <a:pt x="553" y="19"/>
                    </a:lnTo>
                    <a:lnTo>
                      <a:pt x="568" y="7"/>
                    </a:lnTo>
                    <a:lnTo>
                      <a:pt x="536" y="17"/>
                    </a:lnTo>
                    <a:close/>
                    <a:moveTo>
                      <a:pt x="443" y="3"/>
                    </a:moveTo>
                    <a:lnTo>
                      <a:pt x="530" y="16"/>
                    </a:lnTo>
                    <a:lnTo>
                      <a:pt x="566" y="4"/>
                    </a:lnTo>
                    <a:lnTo>
                      <a:pt x="443" y="3"/>
                    </a:lnTo>
                    <a:close/>
                  </a:path>
                </a:pathLst>
              </a:custGeom>
              <a:solidFill>
                <a:srgbClr val="989898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5" name="Freeform 3940">
                <a:extLst>
                  <a:ext uri="{FF2B5EF4-FFF2-40B4-BE49-F238E27FC236}">
                    <a16:creationId xmlns:a16="http://schemas.microsoft.com/office/drawing/2014/main" id="{4F358685-A05C-49B0-8B93-AD7F735317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31598" y="2352909"/>
                <a:ext cx="207530" cy="354531"/>
              </a:xfrm>
              <a:custGeom>
                <a:avLst/>
                <a:gdLst>
                  <a:gd name="T0" fmla="*/ 3 w 72"/>
                  <a:gd name="T1" fmla="*/ 123 h 123"/>
                  <a:gd name="T2" fmla="*/ 0 w 72"/>
                  <a:gd name="T3" fmla="*/ 121 h 123"/>
                  <a:gd name="T4" fmla="*/ 44 w 72"/>
                  <a:gd name="T5" fmla="*/ 0 h 123"/>
                  <a:gd name="T6" fmla="*/ 47 w 72"/>
                  <a:gd name="T7" fmla="*/ 0 h 123"/>
                  <a:gd name="T8" fmla="*/ 72 w 72"/>
                  <a:gd name="T9" fmla="*/ 41 h 123"/>
                  <a:gd name="T10" fmla="*/ 72 w 72"/>
                  <a:gd name="T11" fmla="*/ 44 h 123"/>
                  <a:gd name="T12" fmla="*/ 3 w 72"/>
                  <a:gd name="T13" fmla="*/ 123 h 123"/>
                  <a:gd name="T14" fmla="*/ 46 w 72"/>
                  <a:gd name="T15" fmla="*/ 4 h 123"/>
                  <a:gd name="T16" fmla="*/ 6 w 72"/>
                  <a:gd name="T17" fmla="*/ 115 h 123"/>
                  <a:gd name="T18" fmla="*/ 69 w 72"/>
                  <a:gd name="T19" fmla="*/ 42 h 123"/>
                  <a:gd name="T20" fmla="*/ 46 w 72"/>
                  <a:gd name="T21" fmla="*/ 4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123">
                    <a:moveTo>
                      <a:pt x="3" y="123"/>
                    </a:moveTo>
                    <a:lnTo>
                      <a:pt x="0" y="121"/>
                    </a:lnTo>
                    <a:lnTo>
                      <a:pt x="44" y="0"/>
                    </a:lnTo>
                    <a:lnTo>
                      <a:pt x="47" y="0"/>
                    </a:lnTo>
                    <a:lnTo>
                      <a:pt x="72" y="41"/>
                    </a:lnTo>
                    <a:lnTo>
                      <a:pt x="72" y="44"/>
                    </a:lnTo>
                    <a:lnTo>
                      <a:pt x="3" y="123"/>
                    </a:lnTo>
                    <a:close/>
                    <a:moveTo>
                      <a:pt x="46" y="4"/>
                    </a:moveTo>
                    <a:lnTo>
                      <a:pt x="6" y="115"/>
                    </a:lnTo>
                    <a:lnTo>
                      <a:pt x="69" y="42"/>
                    </a:lnTo>
                    <a:lnTo>
                      <a:pt x="46" y="4"/>
                    </a:lnTo>
                    <a:close/>
                  </a:path>
                </a:pathLst>
              </a:custGeom>
              <a:solidFill>
                <a:srgbClr val="989898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6" name="Freeform 3941">
                <a:extLst>
                  <a:ext uri="{FF2B5EF4-FFF2-40B4-BE49-F238E27FC236}">
                    <a16:creationId xmlns:a16="http://schemas.microsoft.com/office/drawing/2014/main" id="{8C8E5B8A-0D3F-4AA5-A4F2-D6537A5B3D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76421" y="2791027"/>
                <a:ext cx="752295" cy="492884"/>
              </a:xfrm>
              <a:custGeom>
                <a:avLst/>
                <a:gdLst>
                  <a:gd name="T0" fmla="*/ 2 w 261"/>
                  <a:gd name="T1" fmla="*/ 171 h 171"/>
                  <a:gd name="T2" fmla="*/ 0 w 261"/>
                  <a:gd name="T3" fmla="*/ 170 h 171"/>
                  <a:gd name="T4" fmla="*/ 138 w 261"/>
                  <a:gd name="T5" fmla="*/ 0 h 171"/>
                  <a:gd name="T6" fmla="*/ 139 w 261"/>
                  <a:gd name="T7" fmla="*/ 0 h 171"/>
                  <a:gd name="T8" fmla="*/ 261 w 261"/>
                  <a:gd name="T9" fmla="*/ 29 h 171"/>
                  <a:gd name="T10" fmla="*/ 261 w 261"/>
                  <a:gd name="T11" fmla="*/ 32 h 171"/>
                  <a:gd name="T12" fmla="*/ 2 w 261"/>
                  <a:gd name="T13" fmla="*/ 171 h 171"/>
                  <a:gd name="T14" fmla="*/ 139 w 261"/>
                  <a:gd name="T15" fmla="*/ 3 h 171"/>
                  <a:gd name="T16" fmla="*/ 6 w 261"/>
                  <a:gd name="T17" fmla="*/ 165 h 171"/>
                  <a:gd name="T18" fmla="*/ 256 w 261"/>
                  <a:gd name="T19" fmla="*/ 31 h 171"/>
                  <a:gd name="T20" fmla="*/ 139 w 261"/>
                  <a:gd name="T21" fmla="*/ 3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1" h="171">
                    <a:moveTo>
                      <a:pt x="2" y="171"/>
                    </a:moveTo>
                    <a:lnTo>
                      <a:pt x="0" y="170"/>
                    </a:lnTo>
                    <a:lnTo>
                      <a:pt x="138" y="0"/>
                    </a:lnTo>
                    <a:lnTo>
                      <a:pt x="139" y="0"/>
                    </a:lnTo>
                    <a:lnTo>
                      <a:pt x="261" y="29"/>
                    </a:lnTo>
                    <a:lnTo>
                      <a:pt x="261" y="32"/>
                    </a:lnTo>
                    <a:lnTo>
                      <a:pt x="2" y="171"/>
                    </a:lnTo>
                    <a:close/>
                    <a:moveTo>
                      <a:pt x="139" y="3"/>
                    </a:moveTo>
                    <a:lnTo>
                      <a:pt x="6" y="165"/>
                    </a:lnTo>
                    <a:lnTo>
                      <a:pt x="256" y="31"/>
                    </a:lnTo>
                    <a:lnTo>
                      <a:pt x="139" y="3"/>
                    </a:lnTo>
                    <a:close/>
                  </a:path>
                </a:pathLst>
              </a:custGeom>
              <a:solidFill>
                <a:srgbClr val="989898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7" name="Freeform 3942">
                <a:extLst>
                  <a:ext uri="{FF2B5EF4-FFF2-40B4-BE49-F238E27FC236}">
                    <a16:creationId xmlns:a16="http://schemas.microsoft.com/office/drawing/2014/main" id="{0CB662BC-8C91-4CBC-B40C-9C0C3B5327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73950" y="1119260"/>
                <a:ext cx="291119" cy="547648"/>
              </a:xfrm>
              <a:custGeom>
                <a:avLst/>
                <a:gdLst>
                  <a:gd name="T0" fmla="*/ 22 w 101"/>
                  <a:gd name="T1" fmla="*/ 190 h 190"/>
                  <a:gd name="T2" fmla="*/ 19 w 101"/>
                  <a:gd name="T3" fmla="*/ 190 h 190"/>
                  <a:gd name="T4" fmla="*/ 0 w 101"/>
                  <a:gd name="T5" fmla="*/ 81 h 190"/>
                  <a:gd name="T6" fmla="*/ 1 w 101"/>
                  <a:gd name="T7" fmla="*/ 79 h 190"/>
                  <a:gd name="T8" fmla="*/ 98 w 101"/>
                  <a:gd name="T9" fmla="*/ 0 h 190"/>
                  <a:gd name="T10" fmla="*/ 101 w 101"/>
                  <a:gd name="T11" fmla="*/ 2 h 190"/>
                  <a:gd name="T12" fmla="*/ 22 w 101"/>
                  <a:gd name="T13" fmla="*/ 190 h 190"/>
                  <a:gd name="T14" fmla="*/ 3 w 101"/>
                  <a:gd name="T15" fmla="*/ 81 h 190"/>
                  <a:gd name="T16" fmla="*/ 20 w 101"/>
                  <a:gd name="T17" fmla="*/ 185 h 190"/>
                  <a:gd name="T18" fmla="*/ 95 w 101"/>
                  <a:gd name="T19" fmla="*/ 6 h 190"/>
                  <a:gd name="T20" fmla="*/ 3 w 101"/>
                  <a:gd name="T21" fmla="*/ 81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1" h="190">
                    <a:moveTo>
                      <a:pt x="22" y="190"/>
                    </a:moveTo>
                    <a:lnTo>
                      <a:pt x="19" y="190"/>
                    </a:lnTo>
                    <a:lnTo>
                      <a:pt x="0" y="81"/>
                    </a:lnTo>
                    <a:lnTo>
                      <a:pt x="1" y="79"/>
                    </a:lnTo>
                    <a:lnTo>
                      <a:pt x="98" y="0"/>
                    </a:lnTo>
                    <a:lnTo>
                      <a:pt x="101" y="2"/>
                    </a:lnTo>
                    <a:lnTo>
                      <a:pt x="22" y="190"/>
                    </a:lnTo>
                    <a:close/>
                    <a:moveTo>
                      <a:pt x="3" y="81"/>
                    </a:moveTo>
                    <a:lnTo>
                      <a:pt x="20" y="185"/>
                    </a:lnTo>
                    <a:lnTo>
                      <a:pt x="95" y="6"/>
                    </a:lnTo>
                    <a:lnTo>
                      <a:pt x="3" y="81"/>
                    </a:lnTo>
                    <a:close/>
                  </a:path>
                </a:pathLst>
              </a:custGeom>
              <a:solidFill>
                <a:srgbClr val="989898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8" name="Freeform 3943">
                <a:extLst>
                  <a:ext uri="{FF2B5EF4-FFF2-40B4-BE49-F238E27FC236}">
                    <a16:creationId xmlns:a16="http://schemas.microsoft.com/office/drawing/2014/main" id="{593C1554-15FC-43FB-BDF7-02DF18A8DF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22068" y="35494"/>
                <a:ext cx="438118" cy="236353"/>
              </a:xfrm>
              <a:custGeom>
                <a:avLst/>
                <a:gdLst>
                  <a:gd name="T0" fmla="*/ 2 w 152"/>
                  <a:gd name="T1" fmla="*/ 82 h 82"/>
                  <a:gd name="T2" fmla="*/ 0 w 152"/>
                  <a:gd name="T3" fmla="*/ 79 h 82"/>
                  <a:gd name="T4" fmla="*/ 48 w 152"/>
                  <a:gd name="T5" fmla="*/ 0 h 82"/>
                  <a:gd name="T6" fmla="*/ 50 w 152"/>
                  <a:gd name="T7" fmla="*/ 0 h 82"/>
                  <a:gd name="T8" fmla="*/ 151 w 152"/>
                  <a:gd name="T9" fmla="*/ 14 h 82"/>
                  <a:gd name="T10" fmla="*/ 152 w 152"/>
                  <a:gd name="T11" fmla="*/ 17 h 82"/>
                  <a:gd name="T12" fmla="*/ 2 w 152"/>
                  <a:gd name="T13" fmla="*/ 82 h 82"/>
                  <a:gd name="T14" fmla="*/ 51 w 152"/>
                  <a:gd name="T15" fmla="*/ 3 h 82"/>
                  <a:gd name="T16" fmla="*/ 5 w 152"/>
                  <a:gd name="T17" fmla="*/ 77 h 82"/>
                  <a:gd name="T18" fmla="*/ 146 w 152"/>
                  <a:gd name="T19" fmla="*/ 16 h 82"/>
                  <a:gd name="T20" fmla="*/ 51 w 152"/>
                  <a:gd name="T21" fmla="*/ 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2" h="82">
                    <a:moveTo>
                      <a:pt x="2" y="82"/>
                    </a:moveTo>
                    <a:lnTo>
                      <a:pt x="0" y="79"/>
                    </a:lnTo>
                    <a:lnTo>
                      <a:pt x="48" y="0"/>
                    </a:lnTo>
                    <a:lnTo>
                      <a:pt x="50" y="0"/>
                    </a:lnTo>
                    <a:lnTo>
                      <a:pt x="151" y="14"/>
                    </a:lnTo>
                    <a:lnTo>
                      <a:pt x="152" y="17"/>
                    </a:lnTo>
                    <a:lnTo>
                      <a:pt x="2" y="82"/>
                    </a:lnTo>
                    <a:close/>
                    <a:moveTo>
                      <a:pt x="51" y="3"/>
                    </a:moveTo>
                    <a:lnTo>
                      <a:pt x="5" y="77"/>
                    </a:lnTo>
                    <a:lnTo>
                      <a:pt x="146" y="16"/>
                    </a:lnTo>
                    <a:lnTo>
                      <a:pt x="51" y="3"/>
                    </a:lnTo>
                    <a:close/>
                  </a:path>
                </a:pathLst>
              </a:custGeom>
              <a:solidFill>
                <a:srgbClr val="989898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9" name="Freeform 3944">
                <a:extLst>
                  <a:ext uri="{FF2B5EF4-FFF2-40B4-BE49-F238E27FC236}">
                    <a16:creationId xmlns:a16="http://schemas.microsoft.com/office/drawing/2014/main" id="{95C1653F-E3EC-4E3E-9C72-D90274B360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31598" y="620611"/>
                <a:ext cx="190235" cy="144118"/>
              </a:xfrm>
              <a:custGeom>
                <a:avLst/>
                <a:gdLst>
                  <a:gd name="T0" fmla="*/ 38 w 66"/>
                  <a:gd name="T1" fmla="*/ 50 h 50"/>
                  <a:gd name="T2" fmla="*/ 0 w 66"/>
                  <a:gd name="T3" fmla="*/ 3 h 50"/>
                  <a:gd name="T4" fmla="*/ 0 w 66"/>
                  <a:gd name="T5" fmla="*/ 0 h 50"/>
                  <a:gd name="T6" fmla="*/ 65 w 66"/>
                  <a:gd name="T7" fmla="*/ 5 h 50"/>
                  <a:gd name="T8" fmla="*/ 66 w 66"/>
                  <a:gd name="T9" fmla="*/ 8 h 50"/>
                  <a:gd name="T10" fmla="*/ 40 w 66"/>
                  <a:gd name="T11" fmla="*/ 50 h 50"/>
                  <a:gd name="T12" fmla="*/ 38 w 66"/>
                  <a:gd name="T13" fmla="*/ 50 h 50"/>
                  <a:gd name="T14" fmla="*/ 5 w 66"/>
                  <a:gd name="T15" fmla="*/ 3 h 50"/>
                  <a:gd name="T16" fmla="*/ 38 w 66"/>
                  <a:gd name="T17" fmla="*/ 47 h 50"/>
                  <a:gd name="T18" fmla="*/ 62 w 66"/>
                  <a:gd name="T19" fmla="*/ 8 h 50"/>
                  <a:gd name="T20" fmla="*/ 5 w 66"/>
                  <a:gd name="T21" fmla="*/ 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6" h="50">
                    <a:moveTo>
                      <a:pt x="38" y="50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65" y="5"/>
                    </a:lnTo>
                    <a:lnTo>
                      <a:pt x="66" y="8"/>
                    </a:lnTo>
                    <a:lnTo>
                      <a:pt x="40" y="50"/>
                    </a:lnTo>
                    <a:lnTo>
                      <a:pt x="38" y="50"/>
                    </a:lnTo>
                    <a:close/>
                    <a:moveTo>
                      <a:pt x="5" y="3"/>
                    </a:moveTo>
                    <a:lnTo>
                      <a:pt x="38" y="47"/>
                    </a:lnTo>
                    <a:lnTo>
                      <a:pt x="62" y="8"/>
                    </a:lnTo>
                    <a:lnTo>
                      <a:pt x="5" y="3"/>
                    </a:lnTo>
                    <a:close/>
                  </a:path>
                </a:pathLst>
              </a:custGeom>
              <a:solidFill>
                <a:srgbClr val="989898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0" name="Freeform 3945">
                <a:extLst>
                  <a:ext uri="{FF2B5EF4-FFF2-40B4-BE49-F238E27FC236}">
                    <a16:creationId xmlns:a16="http://schemas.microsoft.com/office/drawing/2014/main" id="{041AF62A-20A2-4F65-B407-047C238A5C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56008" y="1090437"/>
                <a:ext cx="446766" cy="190236"/>
              </a:xfrm>
              <a:custGeom>
                <a:avLst/>
                <a:gdLst>
                  <a:gd name="T0" fmla="*/ 1 w 155"/>
                  <a:gd name="T1" fmla="*/ 66 h 66"/>
                  <a:gd name="T2" fmla="*/ 0 w 155"/>
                  <a:gd name="T3" fmla="*/ 63 h 66"/>
                  <a:gd name="T4" fmla="*/ 26 w 155"/>
                  <a:gd name="T5" fmla="*/ 0 h 66"/>
                  <a:gd name="T6" fmla="*/ 28 w 155"/>
                  <a:gd name="T7" fmla="*/ 0 h 66"/>
                  <a:gd name="T8" fmla="*/ 155 w 155"/>
                  <a:gd name="T9" fmla="*/ 7 h 66"/>
                  <a:gd name="T10" fmla="*/ 155 w 155"/>
                  <a:gd name="T11" fmla="*/ 10 h 66"/>
                  <a:gd name="T12" fmla="*/ 1 w 155"/>
                  <a:gd name="T13" fmla="*/ 66 h 66"/>
                  <a:gd name="T14" fmla="*/ 28 w 155"/>
                  <a:gd name="T15" fmla="*/ 3 h 66"/>
                  <a:gd name="T16" fmla="*/ 4 w 155"/>
                  <a:gd name="T17" fmla="*/ 61 h 66"/>
                  <a:gd name="T18" fmla="*/ 148 w 155"/>
                  <a:gd name="T19" fmla="*/ 10 h 66"/>
                  <a:gd name="T20" fmla="*/ 28 w 155"/>
                  <a:gd name="T21" fmla="*/ 3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5" h="66">
                    <a:moveTo>
                      <a:pt x="1" y="66"/>
                    </a:moveTo>
                    <a:lnTo>
                      <a:pt x="0" y="63"/>
                    </a:lnTo>
                    <a:lnTo>
                      <a:pt x="26" y="0"/>
                    </a:lnTo>
                    <a:lnTo>
                      <a:pt x="28" y="0"/>
                    </a:lnTo>
                    <a:lnTo>
                      <a:pt x="155" y="7"/>
                    </a:lnTo>
                    <a:lnTo>
                      <a:pt x="155" y="10"/>
                    </a:lnTo>
                    <a:lnTo>
                      <a:pt x="1" y="66"/>
                    </a:lnTo>
                    <a:close/>
                    <a:moveTo>
                      <a:pt x="28" y="3"/>
                    </a:moveTo>
                    <a:lnTo>
                      <a:pt x="4" y="61"/>
                    </a:lnTo>
                    <a:lnTo>
                      <a:pt x="148" y="10"/>
                    </a:lnTo>
                    <a:lnTo>
                      <a:pt x="28" y="3"/>
                    </a:lnTo>
                    <a:close/>
                  </a:path>
                </a:pathLst>
              </a:custGeom>
              <a:solidFill>
                <a:srgbClr val="989898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1" name="Freeform 3946">
                <a:extLst>
                  <a:ext uri="{FF2B5EF4-FFF2-40B4-BE49-F238E27FC236}">
                    <a16:creationId xmlns:a16="http://schemas.microsoft.com/office/drawing/2014/main" id="{B7AA3927-2D0A-488C-81D5-6492088EFB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56008" y="1698613"/>
                <a:ext cx="458295" cy="273825"/>
              </a:xfrm>
              <a:custGeom>
                <a:avLst/>
                <a:gdLst>
                  <a:gd name="T0" fmla="*/ 158 w 159"/>
                  <a:gd name="T1" fmla="*/ 95 h 95"/>
                  <a:gd name="T2" fmla="*/ 35 w 159"/>
                  <a:gd name="T3" fmla="*/ 79 h 95"/>
                  <a:gd name="T4" fmla="*/ 34 w 159"/>
                  <a:gd name="T5" fmla="*/ 77 h 95"/>
                  <a:gd name="T6" fmla="*/ 0 w 159"/>
                  <a:gd name="T7" fmla="*/ 1 h 95"/>
                  <a:gd name="T8" fmla="*/ 3 w 159"/>
                  <a:gd name="T9" fmla="*/ 0 h 95"/>
                  <a:gd name="T10" fmla="*/ 159 w 159"/>
                  <a:gd name="T11" fmla="*/ 92 h 95"/>
                  <a:gd name="T12" fmla="*/ 158 w 159"/>
                  <a:gd name="T13" fmla="*/ 95 h 95"/>
                  <a:gd name="T14" fmla="*/ 36 w 159"/>
                  <a:gd name="T15" fmla="*/ 76 h 95"/>
                  <a:gd name="T16" fmla="*/ 152 w 159"/>
                  <a:gd name="T17" fmla="*/ 92 h 95"/>
                  <a:gd name="T18" fmla="*/ 4 w 159"/>
                  <a:gd name="T19" fmla="*/ 4 h 95"/>
                  <a:gd name="T20" fmla="*/ 36 w 159"/>
                  <a:gd name="T21" fmla="*/ 76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9" h="95">
                    <a:moveTo>
                      <a:pt x="158" y="95"/>
                    </a:moveTo>
                    <a:lnTo>
                      <a:pt x="35" y="79"/>
                    </a:lnTo>
                    <a:lnTo>
                      <a:pt x="34" y="77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159" y="92"/>
                    </a:lnTo>
                    <a:lnTo>
                      <a:pt x="158" y="95"/>
                    </a:lnTo>
                    <a:close/>
                    <a:moveTo>
                      <a:pt x="36" y="76"/>
                    </a:moveTo>
                    <a:lnTo>
                      <a:pt x="152" y="92"/>
                    </a:lnTo>
                    <a:lnTo>
                      <a:pt x="4" y="4"/>
                    </a:lnTo>
                    <a:lnTo>
                      <a:pt x="36" y="76"/>
                    </a:lnTo>
                    <a:close/>
                  </a:path>
                </a:pathLst>
              </a:custGeom>
              <a:solidFill>
                <a:srgbClr val="989898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2" name="Freeform 3947">
                <a:extLst>
                  <a:ext uri="{FF2B5EF4-FFF2-40B4-BE49-F238E27FC236}">
                    <a16:creationId xmlns:a16="http://schemas.microsoft.com/office/drawing/2014/main" id="{9F334AD5-EC8B-4C98-860A-3E44EAD665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82185" y="2110791"/>
                <a:ext cx="737883" cy="490001"/>
              </a:xfrm>
              <a:custGeom>
                <a:avLst/>
                <a:gdLst>
                  <a:gd name="T0" fmla="*/ 1 w 256"/>
                  <a:gd name="T1" fmla="*/ 170 h 170"/>
                  <a:gd name="T2" fmla="*/ 0 w 256"/>
                  <a:gd name="T3" fmla="*/ 167 h 170"/>
                  <a:gd name="T4" fmla="*/ 73 w 256"/>
                  <a:gd name="T5" fmla="*/ 18 h 170"/>
                  <a:gd name="T6" fmla="*/ 74 w 256"/>
                  <a:gd name="T7" fmla="*/ 16 h 170"/>
                  <a:gd name="T8" fmla="*/ 254 w 256"/>
                  <a:gd name="T9" fmla="*/ 0 h 170"/>
                  <a:gd name="T10" fmla="*/ 256 w 256"/>
                  <a:gd name="T11" fmla="*/ 3 h 170"/>
                  <a:gd name="T12" fmla="*/ 1 w 256"/>
                  <a:gd name="T13" fmla="*/ 170 h 170"/>
                  <a:gd name="T14" fmla="*/ 76 w 256"/>
                  <a:gd name="T15" fmla="*/ 19 h 170"/>
                  <a:gd name="T16" fmla="*/ 4 w 256"/>
                  <a:gd name="T17" fmla="*/ 164 h 170"/>
                  <a:gd name="T18" fmla="*/ 250 w 256"/>
                  <a:gd name="T19" fmla="*/ 3 h 170"/>
                  <a:gd name="T20" fmla="*/ 76 w 256"/>
                  <a:gd name="T21" fmla="*/ 19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6" h="170">
                    <a:moveTo>
                      <a:pt x="1" y="170"/>
                    </a:moveTo>
                    <a:lnTo>
                      <a:pt x="0" y="167"/>
                    </a:lnTo>
                    <a:lnTo>
                      <a:pt x="73" y="18"/>
                    </a:lnTo>
                    <a:lnTo>
                      <a:pt x="74" y="16"/>
                    </a:lnTo>
                    <a:lnTo>
                      <a:pt x="254" y="0"/>
                    </a:lnTo>
                    <a:lnTo>
                      <a:pt x="256" y="3"/>
                    </a:lnTo>
                    <a:lnTo>
                      <a:pt x="1" y="170"/>
                    </a:lnTo>
                    <a:close/>
                    <a:moveTo>
                      <a:pt x="76" y="19"/>
                    </a:moveTo>
                    <a:lnTo>
                      <a:pt x="4" y="164"/>
                    </a:lnTo>
                    <a:lnTo>
                      <a:pt x="250" y="3"/>
                    </a:lnTo>
                    <a:lnTo>
                      <a:pt x="76" y="19"/>
                    </a:lnTo>
                    <a:close/>
                  </a:path>
                </a:pathLst>
              </a:custGeom>
              <a:solidFill>
                <a:srgbClr val="989898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3" name="Freeform 3948">
                <a:extLst>
                  <a:ext uri="{FF2B5EF4-FFF2-40B4-BE49-F238E27FC236}">
                    <a16:creationId xmlns:a16="http://schemas.microsoft.com/office/drawing/2014/main" id="{85B78BBE-EA25-4972-8175-4B73ACF0E9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2008" y="1747614"/>
                <a:ext cx="175825" cy="242118"/>
              </a:xfrm>
              <a:custGeom>
                <a:avLst/>
                <a:gdLst>
                  <a:gd name="T0" fmla="*/ 59 w 61"/>
                  <a:gd name="T1" fmla="*/ 84 h 84"/>
                  <a:gd name="T2" fmla="*/ 1 w 61"/>
                  <a:gd name="T3" fmla="*/ 66 h 84"/>
                  <a:gd name="T4" fmla="*/ 0 w 61"/>
                  <a:gd name="T5" fmla="*/ 65 h 84"/>
                  <a:gd name="T6" fmla="*/ 13 w 61"/>
                  <a:gd name="T7" fmla="*/ 0 h 84"/>
                  <a:gd name="T8" fmla="*/ 16 w 61"/>
                  <a:gd name="T9" fmla="*/ 0 h 84"/>
                  <a:gd name="T10" fmla="*/ 61 w 61"/>
                  <a:gd name="T11" fmla="*/ 82 h 84"/>
                  <a:gd name="T12" fmla="*/ 59 w 61"/>
                  <a:gd name="T13" fmla="*/ 84 h 84"/>
                  <a:gd name="T14" fmla="*/ 2 w 61"/>
                  <a:gd name="T15" fmla="*/ 63 h 84"/>
                  <a:gd name="T16" fmla="*/ 57 w 61"/>
                  <a:gd name="T17" fmla="*/ 81 h 84"/>
                  <a:gd name="T18" fmla="*/ 16 w 61"/>
                  <a:gd name="T19" fmla="*/ 5 h 84"/>
                  <a:gd name="T20" fmla="*/ 2 w 61"/>
                  <a:gd name="T21" fmla="*/ 6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84">
                    <a:moveTo>
                      <a:pt x="59" y="84"/>
                    </a:moveTo>
                    <a:lnTo>
                      <a:pt x="1" y="66"/>
                    </a:lnTo>
                    <a:lnTo>
                      <a:pt x="0" y="65"/>
                    </a:lnTo>
                    <a:lnTo>
                      <a:pt x="13" y="0"/>
                    </a:lnTo>
                    <a:lnTo>
                      <a:pt x="16" y="0"/>
                    </a:lnTo>
                    <a:lnTo>
                      <a:pt x="61" y="82"/>
                    </a:lnTo>
                    <a:lnTo>
                      <a:pt x="59" y="84"/>
                    </a:lnTo>
                    <a:close/>
                    <a:moveTo>
                      <a:pt x="2" y="63"/>
                    </a:moveTo>
                    <a:lnTo>
                      <a:pt x="57" y="81"/>
                    </a:lnTo>
                    <a:lnTo>
                      <a:pt x="16" y="5"/>
                    </a:lnTo>
                    <a:lnTo>
                      <a:pt x="2" y="63"/>
                    </a:lnTo>
                    <a:close/>
                  </a:path>
                </a:pathLst>
              </a:custGeom>
              <a:solidFill>
                <a:srgbClr val="989898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4" name="Freeform 3949">
                <a:extLst>
                  <a:ext uri="{FF2B5EF4-FFF2-40B4-BE49-F238E27FC236}">
                    <a16:creationId xmlns:a16="http://schemas.microsoft.com/office/drawing/2014/main" id="{694A7DB2-C06D-4332-B0B7-AD520A4FA2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58891" y="3491439"/>
                <a:ext cx="305530" cy="201765"/>
              </a:xfrm>
              <a:custGeom>
                <a:avLst/>
                <a:gdLst>
                  <a:gd name="T0" fmla="*/ 24 w 106"/>
                  <a:gd name="T1" fmla="*/ 70 h 70"/>
                  <a:gd name="T2" fmla="*/ 21 w 106"/>
                  <a:gd name="T3" fmla="*/ 69 h 70"/>
                  <a:gd name="T4" fmla="*/ 0 w 106"/>
                  <a:gd name="T5" fmla="*/ 7 h 70"/>
                  <a:gd name="T6" fmla="*/ 2 w 106"/>
                  <a:gd name="T7" fmla="*/ 6 h 70"/>
                  <a:gd name="T8" fmla="*/ 104 w 106"/>
                  <a:gd name="T9" fmla="*/ 0 h 70"/>
                  <a:gd name="T10" fmla="*/ 106 w 106"/>
                  <a:gd name="T11" fmla="*/ 2 h 70"/>
                  <a:gd name="T12" fmla="*/ 24 w 106"/>
                  <a:gd name="T13" fmla="*/ 70 h 70"/>
                  <a:gd name="T14" fmla="*/ 5 w 106"/>
                  <a:gd name="T15" fmla="*/ 7 h 70"/>
                  <a:gd name="T16" fmla="*/ 24 w 106"/>
                  <a:gd name="T17" fmla="*/ 66 h 70"/>
                  <a:gd name="T18" fmla="*/ 100 w 106"/>
                  <a:gd name="T19" fmla="*/ 3 h 70"/>
                  <a:gd name="T20" fmla="*/ 5 w 106"/>
                  <a:gd name="T21" fmla="*/ 7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70">
                    <a:moveTo>
                      <a:pt x="24" y="70"/>
                    </a:moveTo>
                    <a:lnTo>
                      <a:pt x="21" y="69"/>
                    </a:lnTo>
                    <a:lnTo>
                      <a:pt x="0" y="7"/>
                    </a:lnTo>
                    <a:lnTo>
                      <a:pt x="2" y="6"/>
                    </a:lnTo>
                    <a:lnTo>
                      <a:pt x="104" y="0"/>
                    </a:lnTo>
                    <a:lnTo>
                      <a:pt x="106" y="2"/>
                    </a:lnTo>
                    <a:lnTo>
                      <a:pt x="24" y="70"/>
                    </a:lnTo>
                    <a:close/>
                    <a:moveTo>
                      <a:pt x="5" y="7"/>
                    </a:moveTo>
                    <a:lnTo>
                      <a:pt x="24" y="66"/>
                    </a:lnTo>
                    <a:lnTo>
                      <a:pt x="100" y="3"/>
                    </a:lnTo>
                    <a:lnTo>
                      <a:pt x="5" y="7"/>
                    </a:lnTo>
                    <a:close/>
                  </a:path>
                </a:pathLst>
              </a:custGeom>
              <a:solidFill>
                <a:srgbClr val="989898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5" name="Freeform 3950">
                <a:extLst>
                  <a:ext uri="{FF2B5EF4-FFF2-40B4-BE49-F238E27FC236}">
                    <a16:creationId xmlns:a16="http://schemas.microsoft.com/office/drawing/2014/main" id="{8549DFEC-6468-43E0-AEA3-F9D422275A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12068" y="147905"/>
                <a:ext cx="1103943" cy="3726888"/>
              </a:xfrm>
              <a:custGeom>
                <a:avLst/>
                <a:gdLst>
                  <a:gd name="T0" fmla="*/ 31 w 262"/>
                  <a:gd name="T1" fmla="*/ 462 h 883"/>
                  <a:gd name="T2" fmla="*/ 92 w 262"/>
                  <a:gd name="T3" fmla="*/ 79 h 883"/>
                  <a:gd name="T4" fmla="*/ 214 w 262"/>
                  <a:gd name="T5" fmla="*/ 258 h 883"/>
                  <a:gd name="T6" fmla="*/ 216 w 262"/>
                  <a:gd name="T7" fmla="*/ 465 h 883"/>
                  <a:gd name="T8" fmla="*/ 38 w 262"/>
                  <a:gd name="T9" fmla="*/ 861 h 883"/>
                  <a:gd name="T10" fmla="*/ 188 w 262"/>
                  <a:gd name="T11" fmla="*/ 876 h 883"/>
                  <a:gd name="T12" fmla="*/ 91 w 262"/>
                  <a:gd name="T13" fmla="*/ 866 h 883"/>
                  <a:gd name="T14" fmla="*/ 115 w 262"/>
                  <a:gd name="T15" fmla="*/ 751 h 883"/>
                  <a:gd name="T16" fmla="*/ 149 w 262"/>
                  <a:gd name="T17" fmla="*/ 779 h 883"/>
                  <a:gd name="T18" fmla="*/ 117 w 262"/>
                  <a:gd name="T19" fmla="*/ 747 h 883"/>
                  <a:gd name="T20" fmla="*/ 172 w 262"/>
                  <a:gd name="T21" fmla="*/ 691 h 883"/>
                  <a:gd name="T22" fmla="*/ 151 w 262"/>
                  <a:gd name="T23" fmla="*/ 675 h 883"/>
                  <a:gd name="T24" fmla="*/ 123 w 262"/>
                  <a:gd name="T25" fmla="*/ 652 h 883"/>
                  <a:gd name="T26" fmla="*/ 157 w 262"/>
                  <a:gd name="T27" fmla="*/ 550 h 883"/>
                  <a:gd name="T28" fmla="*/ 96 w 262"/>
                  <a:gd name="T29" fmla="*/ 513 h 883"/>
                  <a:gd name="T30" fmla="*/ 93 w 262"/>
                  <a:gd name="T31" fmla="*/ 503 h 883"/>
                  <a:gd name="T32" fmla="*/ 84 w 262"/>
                  <a:gd name="T33" fmla="*/ 454 h 883"/>
                  <a:gd name="T34" fmla="*/ 148 w 262"/>
                  <a:gd name="T35" fmla="*/ 484 h 883"/>
                  <a:gd name="T36" fmla="*/ 204 w 262"/>
                  <a:gd name="T37" fmla="*/ 460 h 883"/>
                  <a:gd name="T38" fmla="*/ 232 w 262"/>
                  <a:gd name="T39" fmla="*/ 470 h 883"/>
                  <a:gd name="T40" fmla="*/ 204 w 262"/>
                  <a:gd name="T41" fmla="*/ 459 h 883"/>
                  <a:gd name="T42" fmla="*/ 10 w 262"/>
                  <a:gd name="T43" fmla="*/ 379 h 883"/>
                  <a:gd name="T44" fmla="*/ 163 w 262"/>
                  <a:gd name="T45" fmla="*/ 441 h 883"/>
                  <a:gd name="T46" fmla="*/ 154 w 262"/>
                  <a:gd name="T47" fmla="*/ 443 h 883"/>
                  <a:gd name="T48" fmla="*/ 156 w 262"/>
                  <a:gd name="T49" fmla="*/ 443 h 883"/>
                  <a:gd name="T50" fmla="*/ 163 w 262"/>
                  <a:gd name="T51" fmla="*/ 407 h 883"/>
                  <a:gd name="T52" fmla="*/ 135 w 262"/>
                  <a:gd name="T53" fmla="*/ 430 h 883"/>
                  <a:gd name="T54" fmla="*/ 78 w 262"/>
                  <a:gd name="T55" fmla="*/ 430 h 883"/>
                  <a:gd name="T56" fmla="*/ 240 w 262"/>
                  <a:gd name="T57" fmla="*/ 427 h 883"/>
                  <a:gd name="T58" fmla="*/ 73 w 262"/>
                  <a:gd name="T59" fmla="*/ 406 h 883"/>
                  <a:gd name="T60" fmla="*/ 123 w 262"/>
                  <a:gd name="T61" fmla="*/ 400 h 883"/>
                  <a:gd name="T62" fmla="*/ 212 w 262"/>
                  <a:gd name="T63" fmla="*/ 395 h 883"/>
                  <a:gd name="T64" fmla="*/ 84 w 262"/>
                  <a:gd name="T65" fmla="*/ 392 h 883"/>
                  <a:gd name="T66" fmla="*/ 15 w 262"/>
                  <a:gd name="T67" fmla="*/ 379 h 883"/>
                  <a:gd name="T68" fmla="*/ 172 w 262"/>
                  <a:gd name="T69" fmla="*/ 370 h 883"/>
                  <a:gd name="T70" fmla="*/ 70 w 262"/>
                  <a:gd name="T71" fmla="*/ 388 h 883"/>
                  <a:gd name="T72" fmla="*/ 219 w 262"/>
                  <a:gd name="T73" fmla="*/ 335 h 883"/>
                  <a:gd name="T74" fmla="*/ 168 w 262"/>
                  <a:gd name="T75" fmla="*/ 313 h 883"/>
                  <a:gd name="T76" fmla="*/ 252 w 262"/>
                  <a:gd name="T77" fmla="*/ 311 h 883"/>
                  <a:gd name="T78" fmla="*/ 198 w 262"/>
                  <a:gd name="T79" fmla="*/ 312 h 883"/>
                  <a:gd name="T80" fmla="*/ 92 w 262"/>
                  <a:gd name="T81" fmla="*/ 292 h 883"/>
                  <a:gd name="T82" fmla="*/ 161 w 262"/>
                  <a:gd name="T83" fmla="*/ 277 h 883"/>
                  <a:gd name="T84" fmla="*/ 249 w 262"/>
                  <a:gd name="T85" fmla="*/ 309 h 883"/>
                  <a:gd name="T86" fmla="*/ 177 w 262"/>
                  <a:gd name="T87" fmla="*/ 291 h 883"/>
                  <a:gd name="T88" fmla="*/ 184 w 262"/>
                  <a:gd name="T89" fmla="*/ 283 h 883"/>
                  <a:gd name="T90" fmla="*/ 166 w 262"/>
                  <a:gd name="T91" fmla="*/ 274 h 883"/>
                  <a:gd name="T92" fmla="*/ 148 w 262"/>
                  <a:gd name="T93" fmla="*/ 262 h 883"/>
                  <a:gd name="T94" fmla="*/ 126 w 262"/>
                  <a:gd name="T95" fmla="*/ 243 h 883"/>
                  <a:gd name="T96" fmla="*/ 220 w 262"/>
                  <a:gd name="T97" fmla="*/ 239 h 883"/>
                  <a:gd name="T98" fmla="*/ 33 w 262"/>
                  <a:gd name="T99" fmla="*/ 227 h 883"/>
                  <a:gd name="T100" fmla="*/ 110 w 262"/>
                  <a:gd name="T101" fmla="*/ 239 h 883"/>
                  <a:gd name="T102" fmla="*/ 219 w 262"/>
                  <a:gd name="T103" fmla="*/ 233 h 883"/>
                  <a:gd name="T104" fmla="*/ 171 w 262"/>
                  <a:gd name="T105" fmla="*/ 172 h 883"/>
                  <a:gd name="T106" fmla="*/ 25 w 262"/>
                  <a:gd name="T107" fmla="*/ 142 h 883"/>
                  <a:gd name="T108" fmla="*/ 86 w 262"/>
                  <a:gd name="T109" fmla="*/ 201 h 883"/>
                  <a:gd name="T110" fmla="*/ 145 w 262"/>
                  <a:gd name="T111" fmla="*/ 144 h 883"/>
                  <a:gd name="T112" fmla="*/ 159 w 262"/>
                  <a:gd name="T113" fmla="*/ 144 h 883"/>
                  <a:gd name="T114" fmla="*/ 178 w 262"/>
                  <a:gd name="T115" fmla="*/ 143 h 883"/>
                  <a:gd name="T116" fmla="*/ 146 w 262"/>
                  <a:gd name="T117" fmla="*/ 142 h 883"/>
                  <a:gd name="T118" fmla="*/ 93 w 262"/>
                  <a:gd name="T119" fmla="*/ 80 h 883"/>
                  <a:gd name="T120" fmla="*/ 94 w 262"/>
                  <a:gd name="T121" fmla="*/ 79 h 8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62" h="883">
                    <a:moveTo>
                      <a:pt x="82" y="883"/>
                    </a:moveTo>
                    <a:cubicBezTo>
                      <a:pt x="82" y="883"/>
                      <a:pt x="82" y="883"/>
                      <a:pt x="82" y="883"/>
                    </a:cubicBezTo>
                    <a:cubicBezTo>
                      <a:pt x="81" y="883"/>
                      <a:pt x="81" y="883"/>
                      <a:pt x="81" y="883"/>
                    </a:cubicBezTo>
                    <a:cubicBezTo>
                      <a:pt x="33" y="861"/>
                      <a:pt x="33" y="861"/>
                      <a:pt x="33" y="861"/>
                    </a:cubicBezTo>
                    <a:cubicBezTo>
                      <a:pt x="34" y="860"/>
                      <a:pt x="34" y="860"/>
                      <a:pt x="34" y="860"/>
                    </a:cubicBezTo>
                    <a:cubicBezTo>
                      <a:pt x="33" y="860"/>
                      <a:pt x="33" y="860"/>
                      <a:pt x="33" y="860"/>
                    </a:cubicBezTo>
                    <a:cubicBezTo>
                      <a:pt x="122" y="611"/>
                      <a:pt x="122" y="611"/>
                      <a:pt x="122" y="611"/>
                    </a:cubicBezTo>
                    <a:cubicBezTo>
                      <a:pt x="91" y="502"/>
                      <a:pt x="91" y="502"/>
                      <a:pt x="91" y="502"/>
                    </a:cubicBezTo>
                    <a:cubicBezTo>
                      <a:pt x="91" y="502"/>
                      <a:pt x="91" y="502"/>
                      <a:pt x="91" y="502"/>
                    </a:cubicBezTo>
                    <a:cubicBezTo>
                      <a:pt x="91" y="502"/>
                      <a:pt x="91" y="502"/>
                      <a:pt x="91" y="502"/>
                    </a:cubicBezTo>
                    <a:cubicBezTo>
                      <a:pt x="82" y="455"/>
                      <a:pt x="82" y="455"/>
                      <a:pt x="82" y="455"/>
                    </a:cubicBezTo>
                    <a:cubicBezTo>
                      <a:pt x="32" y="463"/>
                      <a:pt x="32" y="463"/>
                      <a:pt x="32" y="463"/>
                    </a:cubicBezTo>
                    <a:cubicBezTo>
                      <a:pt x="32" y="462"/>
                      <a:pt x="32" y="462"/>
                      <a:pt x="32" y="462"/>
                    </a:cubicBezTo>
                    <a:cubicBezTo>
                      <a:pt x="31" y="462"/>
                      <a:pt x="31" y="462"/>
                      <a:pt x="31" y="462"/>
                    </a:cubicBezTo>
                    <a:cubicBezTo>
                      <a:pt x="8" y="378"/>
                      <a:pt x="8" y="378"/>
                      <a:pt x="8" y="378"/>
                    </a:cubicBezTo>
                    <a:cubicBezTo>
                      <a:pt x="8" y="377"/>
                      <a:pt x="8" y="377"/>
                      <a:pt x="8" y="377"/>
                    </a:cubicBezTo>
                    <a:cubicBezTo>
                      <a:pt x="8" y="377"/>
                      <a:pt x="8" y="377"/>
                      <a:pt x="8" y="377"/>
                    </a:cubicBezTo>
                    <a:cubicBezTo>
                      <a:pt x="47" y="351"/>
                      <a:pt x="47" y="351"/>
                      <a:pt x="47" y="351"/>
                    </a:cubicBezTo>
                    <a:cubicBezTo>
                      <a:pt x="1" y="320"/>
                      <a:pt x="1" y="320"/>
                      <a:pt x="1" y="320"/>
                    </a:cubicBezTo>
                    <a:cubicBezTo>
                      <a:pt x="1" y="320"/>
                      <a:pt x="1" y="320"/>
                      <a:pt x="1" y="320"/>
                    </a:cubicBezTo>
                    <a:cubicBezTo>
                      <a:pt x="0" y="319"/>
                      <a:pt x="0" y="319"/>
                      <a:pt x="0" y="319"/>
                    </a:cubicBezTo>
                    <a:cubicBezTo>
                      <a:pt x="0" y="319"/>
                      <a:pt x="0" y="319"/>
                      <a:pt x="0" y="319"/>
                    </a:cubicBezTo>
                    <a:cubicBezTo>
                      <a:pt x="0" y="318"/>
                      <a:pt x="0" y="318"/>
                      <a:pt x="1" y="318"/>
                    </a:cubicBezTo>
                    <a:cubicBezTo>
                      <a:pt x="3" y="310"/>
                      <a:pt x="24" y="228"/>
                      <a:pt x="25" y="224"/>
                    </a:cubicBezTo>
                    <a:cubicBezTo>
                      <a:pt x="23" y="141"/>
                      <a:pt x="23" y="141"/>
                      <a:pt x="23" y="141"/>
                    </a:cubicBezTo>
                    <a:cubicBezTo>
                      <a:pt x="24" y="140"/>
                      <a:pt x="24" y="140"/>
                      <a:pt x="24" y="140"/>
                    </a:cubicBezTo>
                    <a:cubicBezTo>
                      <a:pt x="24" y="140"/>
                      <a:pt x="24" y="140"/>
                      <a:pt x="24" y="140"/>
                    </a:cubicBezTo>
                    <a:cubicBezTo>
                      <a:pt x="92" y="79"/>
                      <a:pt x="92" y="79"/>
                      <a:pt x="92" y="79"/>
                    </a:cubicBezTo>
                    <a:cubicBezTo>
                      <a:pt x="30" y="4"/>
                      <a:pt x="30" y="4"/>
                      <a:pt x="30" y="4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110" y="63"/>
                      <a:pt x="110" y="63"/>
                      <a:pt x="110" y="63"/>
                    </a:cubicBezTo>
                    <a:cubicBezTo>
                      <a:pt x="180" y="0"/>
                      <a:pt x="180" y="0"/>
                      <a:pt x="180" y="0"/>
                    </a:cubicBezTo>
                    <a:cubicBezTo>
                      <a:pt x="181" y="1"/>
                      <a:pt x="181" y="1"/>
                      <a:pt x="181" y="1"/>
                    </a:cubicBezTo>
                    <a:cubicBezTo>
                      <a:pt x="160" y="87"/>
                      <a:pt x="160" y="87"/>
                      <a:pt x="160" y="87"/>
                    </a:cubicBezTo>
                    <a:cubicBezTo>
                      <a:pt x="160" y="87"/>
                      <a:pt x="160" y="87"/>
                      <a:pt x="160" y="87"/>
                    </a:cubicBezTo>
                    <a:cubicBezTo>
                      <a:pt x="244" y="144"/>
                      <a:pt x="244" y="144"/>
                      <a:pt x="244" y="144"/>
                    </a:cubicBezTo>
                    <a:cubicBezTo>
                      <a:pt x="243" y="144"/>
                      <a:pt x="243" y="144"/>
                      <a:pt x="243" y="144"/>
                    </a:cubicBezTo>
                    <a:cubicBezTo>
                      <a:pt x="244" y="145"/>
                      <a:pt x="244" y="145"/>
                      <a:pt x="244" y="145"/>
                    </a:cubicBezTo>
                    <a:cubicBezTo>
                      <a:pt x="223" y="235"/>
                      <a:pt x="223" y="235"/>
                      <a:pt x="223" y="235"/>
                    </a:cubicBezTo>
                    <a:cubicBezTo>
                      <a:pt x="251" y="263"/>
                      <a:pt x="251" y="263"/>
                      <a:pt x="251" y="263"/>
                    </a:cubicBezTo>
                    <a:cubicBezTo>
                      <a:pt x="250" y="265"/>
                      <a:pt x="250" y="265"/>
                      <a:pt x="250" y="265"/>
                    </a:cubicBezTo>
                    <a:cubicBezTo>
                      <a:pt x="214" y="258"/>
                      <a:pt x="214" y="258"/>
                      <a:pt x="214" y="258"/>
                    </a:cubicBezTo>
                    <a:cubicBezTo>
                      <a:pt x="202" y="289"/>
                      <a:pt x="202" y="289"/>
                      <a:pt x="202" y="289"/>
                    </a:cubicBezTo>
                    <a:cubicBezTo>
                      <a:pt x="253" y="309"/>
                      <a:pt x="253" y="309"/>
                      <a:pt x="253" y="309"/>
                    </a:cubicBezTo>
                    <a:cubicBezTo>
                      <a:pt x="253" y="309"/>
                      <a:pt x="253" y="309"/>
                      <a:pt x="253" y="309"/>
                    </a:cubicBezTo>
                    <a:cubicBezTo>
                      <a:pt x="254" y="309"/>
                      <a:pt x="254" y="309"/>
                      <a:pt x="254" y="309"/>
                    </a:cubicBezTo>
                    <a:cubicBezTo>
                      <a:pt x="249" y="364"/>
                      <a:pt x="249" y="364"/>
                      <a:pt x="249" y="364"/>
                    </a:cubicBezTo>
                    <a:cubicBezTo>
                      <a:pt x="250" y="364"/>
                      <a:pt x="250" y="364"/>
                      <a:pt x="250" y="364"/>
                    </a:cubicBezTo>
                    <a:cubicBezTo>
                      <a:pt x="242" y="412"/>
                      <a:pt x="242" y="412"/>
                      <a:pt x="242" y="412"/>
                    </a:cubicBezTo>
                    <a:cubicBezTo>
                      <a:pt x="262" y="424"/>
                      <a:pt x="262" y="424"/>
                      <a:pt x="262" y="424"/>
                    </a:cubicBezTo>
                    <a:cubicBezTo>
                      <a:pt x="262" y="425"/>
                      <a:pt x="262" y="425"/>
                      <a:pt x="262" y="425"/>
                    </a:cubicBezTo>
                    <a:cubicBezTo>
                      <a:pt x="262" y="425"/>
                      <a:pt x="262" y="425"/>
                      <a:pt x="262" y="425"/>
                    </a:cubicBezTo>
                    <a:cubicBezTo>
                      <a:pt x="237" y="446"/>
                      <a:pt x="237" y="446"/>
                      <a:pt x="237" y="446"/>
                    </a:cubicBezTo>
                    <a:cubicBezTo>
                      <a:pt x="234" y="472"/>
                      <a:pt x="234" y="472"/>
                      <a:pt x="234" y="472"/>
                    </a:cubicBezTo>
                    <a:cubicBezTo>
                      <a:pt x="233" y="472"/>
                      <a:pt x="233" y="472"/>
                      <a:pt x="233" y="472"/>
                    </a:cubicBezTo>
                    <a:cubicBezTo>
                      <a:pt x="216" y="465"/>
                      <a:pt x="216" y="465"/>
                      <a:pt x="216" y="465"/>
                    </a:cubicBezTo>
                    <a:cubicBezTo>
                      <a:pt x="192" y="485"/>
                      <a:pt x="192" y="485"/>
                      <a:pt x="192" y="485"/>
                    </a:cubicBezTo>
                    <a:cubicBezTo>
                      <a:pt x="175" y="628"/>
                      <a:pt x="175" y="628"/>
                      <a:pt x="175" y="628"/>
                    </a:cubicBezTo>
                    <a:cubicBezTo>
                      <a:pt x="242" y="858"/>
                      <a:pt x="242" y="858"/>
                      <a:pt x="242" y="858"/>
                    </a:cubicBezTo>
                    <a:cubicBezTo>
                      <a:pt x="242" y="859"/>
                      <a:pt x="242" y="859"/>
                      <a:pt x="242" y="859"/>
                    </a:cubicBezTo>
                    <a:cubicBezTo>
                      <a:pt x="242" y="859"/>
                      <a:pt x="242" y="859"/>
                      <a:pt x="242" y="859"/>
                    </a:cubicBezTo>
                    <a:cubicBezTo>
                      <a:pt x="242" y="859"/>
                      <a:pt x="242" y="859"/>
                      <a:pt x="242" y="859"/>
                    </a:cubicBezTo>
                    <a:cubicBezTo>
                      <a:pt x="188" y="878"/>
                      <a:pt x="188" y="878"/>
                      <a:pt x="188" y="878"/>
                    </a:cubicBezTo>
                    <a:cubicBezTo>
                      <a:pt x="188" y="878"/>
                      <a:pt x="188" y="878"/>
                      <a:pt x="188" y="878"/>
                    </a:cubicBezTo>
                    <a:cubicBezTo>
                      <a:pt x="188" y="878"/>
                      <a:pt x="188" y="878"/>
                      <a:pt x="188" y="878"/>
                    </a:cubicBezTo>
                    <a:lnTo>
                      <a:pt x="82" y="883"/>
                    </a:lnTo>
                    <a:close/>
                    <a:moveTo>
                      <a:pt x="38" y="861"/>
                    </a:moveTo>
                    <a:cubicBezTo>
                      <a:pt x="81" y="882"/>
                      <a:pt x="81" y="882"/>
                      <a:pt x="81" y="882"/>
                    </a:cubicBezTo>
                    <a:cubicBezTo>
                      <a:pt x="91" y="867"/>
                      <a:pt x="91" y="867"/>
                      <a:pt x="91" y="867"/>
                    </a:cubicBezTo>
                    <a:lnTo>
                      <a:pt x="38" y="861"/>
                    </a:lnTo>
                    <a:close/>
                    <a:moveTo>
                      <a:pt x="92" y="867"/>
                    </a:moveTo>
                    <a:cubicBezTo>
                      <a:pt x="83" y="882"/>
                      <a:pt x="83" y="882"/>
                      <a:pt x="83" y="882"/>
                    </a:cubicBezTo>
                    <a:cubicBezTo>
                      <a:pt x="142" y="873"/>
                      <a:pt x="142" y="873"/>
                      <a:pt x="142" y="873"/>
                    </a:cubicBezTo>
                    <a:lnTo>
                      <a:pt x="92" y="867"/>
                    </a:lnTo>
                    <a:close/>
                    <a:moveTo>
                      <a:pt x="148" y="873"/>
                    </a:moveTo>
                    <a:cubicBezTo>
                      <a:pt x="97" y="881"/>
                      <a:pt x="97" y="881"/>
                      <a:pt x="97" y="881"/>
                    </a:cubicBezTo>
                    <a:cubicBezTo>
                      <a:pt x="179" y="877"/>
                      <a:pt x="179" y="877"/>
                      <a:pt x="179" y="877"/>
                    </a:cubicBezTo>
                    <a:lnTo>
                      <a:pt x="148" y="873"/>
                    </a:lnTo>
                    <a:close/>
                    <a:moveTo>
                      <a:pt x="154" y="873"/>
                    </a:moveTo>
                    <a:cubicBezTo>
                      <a:pt x="187" y="876"/>
                      <a:pt x="187" y="876"/>
                      <a:pt x="187" y="876"/>
                    </a:cubicBezTo>
                    <a:cubicBezTo>
                      <a:pt x="185" y="868"/>
                      <a:pt x="185" y="868"/>
                      <a:pt x="185" y="868"/>
                    </a:cubicBezTo>
                    <a:lnTo>
                      <a:pt x="154" y="873"/>
                    </a:lnTo>
                    <a:close/>
                    <a:moveTo>
                      <a:pt x="187" y="868"/>
                    </a:moveTo>
                    <a:cubicBezTo>
                      <a:pt x="188" y="876"/>
                      <a:pt x="188" y="876"/>
                      <a:pt x="188" y="876"/>
                    </a:cubicBezTo>
                    <a:cubicBezTo>
                      <a:pt x="233" y="861"/>
                      <a:pt x="233" y="861"/>
                      <a:pt x="233" y="861"/>
                    </a:cubicBezTo>
                    <a:lnTo>
                      <a:pt x="187" y="868"/>
                    </a:lnTo>
                    <a:close/>
                    <a:moveTo>
                      <a:pt x="93" y="866"/>
                    </a:moveTo>
                    <a:cubicBezTo>
                      <a:pt x="148" y="872"/>
                      <a:pt x="148" y="872"/>
                      <a:pt x="148" y="872"/>
                    </a:cubicBezTo>
                    <a:cubicBezTo>
                      <a:pt x="185" y="866"/>
                      <a:pt x="185" y="866"/>
                      <a:pt x="185" y="866"/>
                    </a:cubicBezTo>
                    <a:cubicBezTo>
                      <a:pt x="175" y="803"/>
                      <a:pt x="175" y="803"/>
                      <a:pt x="175" y="803"/>
                    </a:cubicBezTo>
                    <a:cubicBezTo>
                      <a:pt x="148" y="780"/>
                      <a:pt x="148" y="780"/>
                      <a:pt x="148" y="780"/>
                    </a:cubicBezTo>
                    <a:lnTo>
                      <a:pt x="93" y="866"/>
                    </a:lnTo>
                    <a:close/>
                    <a:moveTo>
                      <a:pt x="176" y="804"/>
                    </a:moveTo>
                    <a:cubicBezTo>
                      <a:pt x="187" y="866"/>
                      <a:pt x="187" y="866"/>
                      <a:pt x="187" y="866"/>
                    </a:cubicBezTo>
                    <a:cubicBezTo>
                      <a:pt x="240" y="858"/>
                      <a:pt x="240" y="858"/>
                      <a:pt x="240" y="858"/>
                    </a:cubicBezTo>
                    <a:lnTo>
                      <a:pt x="176" y="804"/>
                    </a:lnTo>
                    <a:close/>
                    <a:moveTo>
                      <a:pt x="35" y="860"/>
                    </a:moveTo>
                    <a:cubicBezTo>
                      <a:pt x="91" y="866"/>
                      <a:pt x="91" y="866"/>
                      <a:pt x="91" y="866"/>
                    </a:cubicBezTo>
                    <a:cubicBezTo>
                      <a:pt x="147" y="779"/>
                      <a:pt x="147" y="779"/>
                      <a:pt x="147" y="779"/>
                    </a:cubicBezTo>
                    <a:cubicBezTo>
                      <a:pt x="116" y="752"/>
                      <a:pt x="116" y="752"/>
                      <a:pt x="116" y="752"/>
                    </a:cubicBezTo>
                    <a:lnTo>
                      <a:pt x="35" y="860"/>
                    </a:lnTo>
                    <a:close/>
                    <a:moveTo>
                      <a:pt x="176" y="802"/>
                    </a:moveTo>
                    <a:cubicBezTo>
                      <a:pt x="240" y="856"/>
                      <a:pt x="240" y="856"/>
                      <a:pt x="240" y="856"/>
                    </a:cubicBezTo>
                    <a:cubicBezTo>
                      <a:pt x="175" y="703"/>
                      <a:pt x="175" y="703"/>
                      <a:pt x="175" y="703"/>
                    </a:cubicBezTo>
                    <a:cubicBezTo>
                      <a:pt x="157" y="718"/>
                      <a:pt x="157" y="718"/>
                      <a:pt x="157" y="718"/>
                    </a:cubicBezTo>
                    <a:cubicBezTo>
                      <a:pt x="167" y="750"/>
                      <a:pt x="167" y="750"/>
                      <a:pt x="167" y="750"/>
                    </a:cubicBezTo>
                    <a:cubicBezTo>
                      <a:pt x="167" y="750"/>
                      <a:pt x="167" y="750"/>
                      <a:pt x="167" y="750"/>
                    </a:cubicBezTo>
                    <a:cubicBezTo>
                      <a:pt x="167" y="750"/>
                      <a:pt x="167" y="750"/>
                      <a:pt x="167" y="750"/>
                    </a:cubicBezTo>
                    <a:lnTo>
                      <a:pt x="176" y="802"/>
                    </a:lnTo>
                    <a:close/>
                    <a:moveTo>
                      <a:pt x="122" y="615"/>
                    </a:moveTo>
                    <a:cubicBezTo>
                      <a:pt x="36" y="856"/>
                      <a:pt x="36" y="856"/>
                      <a:pt x="36" y="856"/>
                    </a:cubicBezTo>
                    <a:cubicBezTo>
                      <a:pt x="115" y="751"/>
                      <a:pt x="115" y="751"/>
                      <a:pt x="115" y="751"/>
                    </a:cubicBezTo>
                    <a:cubicBezTo>
                      <a:pt x="122" y="653"/>
                      <a:pt x="122" y="653"/>
                      <a:pt x="122" y="653"/>
                    </a:cubicBezTo>
                    <a:lnTo>
                      <a:pt x="122" y="615"/>
                    </a:lnTo>
                    <a:close/>
                    <a:moveTo>
                      <a:pt x="180" y="698"/>
                    </a:moveTo>
                    <a:cubicBezTo>
                      <a:pt x="236" y="842"/>
                      <a:pt x="236" y="842"/>
                      <a:pt x="236" y="842"/>
                    </a:cubicBezTo>
                    <a:cubicBezTo>
                      <a:pt x="175" y="635"/>
                      <a:pt x="175" y="635"/>
                      <a:pt x="175" y="635"/>
                    </a:cubicBezTo>
                    <a:lnTo>
                      <a:pt x="180" y="698"/>
                    </a:lnTo>
                    <a:close/>
                    <a:moveTo>
                      <a:pt x="176" y="702"/>
                    </a:moveTo>
                    <a:cubicBezTo>
                      <a:pt x="222" y="811"/>
                      <a:pt x="222" y="811"/>
                      <a:pt x="222" y="811"/>
                    </a:cubicBezTo>
                    <a:cubicBezTo>
                      <a:pt x="179" y="699"/>
                      <a:pt x="179" y="699"/>
                      <a:pt x="179" y="699"/>
                    </a:cubicBezTo>
                    <a:lnTo>
                      <a:pt x="176" y="702"/>
                    </a:lnTo>
                    <a:close/>
                    <a:moveTo>
                      <a:pt x="149" y="779"/>
                    </a:moveTo>
                    <a:cubicBezTo>
                      <a:pt x="174" y="800"/>
                      <a:pt x="174" y="800"/>
                      <a:pt x="174" y="800"/>
                    </a:cubicBezTo>
                    <a:cubicBezTo>
                      <a:pt x="166" y="753"/>
                      <a:pt x="166" y="753"/>
                      <a:pt x="166" y="753"/>
                    </a:cubicBezTo>
                    <a:lnTo>
                      <a:pt x="149" y="779"/>
                    </a:lnTo>
                    <a:close/>
                    <a:moveTo>
                      <a:pt x="117" y="752"/>
                    </a:moveTo>
                    <a:cubicBezTo>
                      <a:pt x="148" y="778"/>
                      <a:pt x="148" y="778"/>
                      <a:pt x="148" y="778"/>
                    </a:cubicBezTo>
                    <a:cubicBezTo>
                      <a:pt x="165" y="751"/>
                      <a:pt x="165" y="751"/>
                      <a:pt x="165" y="751"/>
                    </a:cubicBezTo>
                    <a:lnTo>
                      <a:pt x="117" y="752"/>
                    </a:lnTo>
                    <a:close/>
                    <a:moveTo>
                      <a:pt x="156" y="719"/>
                    </a:moveTo>
                    <a:cubicBezTo>
                      <a:pt x="118" y="750"/>
                      <a:pt x="118" y="750"/>
                      <a:pt x="118" y="750"/>
                    </a:cubicBezTo>
                    <a:cubicBezTo>
                      <a:pt x="166" y="750"/>
                      <a:pt x="166" y="750"/>
                      <a:pt x="166" y="750"/>
                    </a:cubicBezTo>
                    <a:lnTo>
                      <a:pt x="156" y="719"/>
                    </a:lnTo>
                    <a:close/>
                    <a:moveTo>
                      <a:pt x="146" y="689"/>
                    </a:moveTo>
                    <a:cubicBezTo>
                      <a:pt x="118" y="748"/>
                      <a:pt x="118" y="748"/>
                      <a:pt x="118" y="748"/>
                    </a:cubicBezTo>
                    <a:cubicBezTo>
                      <a:pt x="155" y="717"/>
                      <a:pt x="155" y="717"/>
                      <a:pt x="155" y="717"/>
                    </a:cubicBezTo>
                    <a:lnTo>
                      <a:pt x="146" y="689"/>
                    </a:lnTo>
                    <a:close/>
                    <a:moveTo>
                      <a:pt x="123" y="655"/>
                    </a:moveTo>
                    <a:cubicBezTo>
                      <a:pt x="117" y="747"/>
                      <a:pt x="117" y="747"/>
                      <a:pt x="117" y="747"/>
                    </a:cubicBezTo>
                    <a:cubicBezTo>
                      <a:pt x="146" y="686"/>
                      <a:pt x="146" y="686"/>
                      <a:pt x="146" y="686"/>
                    </a:cubicBezTo>
                    <a:cubicBezTo>
                      <a:pt x="140" y="667"/>
                      <a:pt x="140" y="667"/>
                      <a:pt x="140" y="667"/>
                    </a:cubicBezTo>
                    <a:lnTo>
                      <a:pt x="123" y="655"/>
                    </a:lnTo>
                    <a:close/>
                    <a:moveTo>
                      <a:pt x="147" y="687"/>
                    </a:moveTo>
                    <a:cubicBezTo>
                      <a:pt x="156" y="716"/>
                      <a:pt x="156" y="716"/>
                      <a:pt x="156" y="716"/>
                    </a:cubicBezTo>
                    <a:cubicBezTo>
                      <a:pt x="175" y="701"/>
                      <a:pt x="175" y="701"/>
                      <a:pt x="175" y="701"/>
                    </a:cubicBezTo>
                    <a:cubicBezTo>
                      <a:pt x="171" y="692"/>
                      <a:pt x="171" y="692"/>
                      <a:pt x="171" y="692"/>
                    </a:cubicBezTo>
                    <a:cubicBezTo>
                      <a:pt x="152" y="677"/>
                      <a:pt x="152" y="677"/>
                      <a:pt x="152" y="677"/>
                    </a:cubicBezTo>
                    <a:lnTo>
                      <a:pt x="147" y="687"/>
                    </a:lnTo>
                    <a:close/>
                    <a:moveTo>
                      <a:pt x="173" y="694"/>
                    </a:moveTo>
                    <a:cubicBezTo>
                      <a:pt x="176" y="700"/>
                      <a:pt x="176" y="700"/>
                      <a:pt x="176" y="700"/>
                    </a:cubicBezTo>
                    <a:cubicBezTo>
                      <a:pt x="178" y="698"/>
                      <a:pt x="178" y="698"/>
                      <a:pt x="178" y="698"/>
                    </a:cubicBezTo>
                    <a:lnTo>
                      <a:pt x="173" y="694"/>
                    </a:lnTo>
                    <a:close/>
                    <a:moveTo>
                      <a:pt x="172" y="691"/>
                    </a:moveTo>
                    <a:cubicBezTo>
                      <a:pt x="179" y="696"/>
                      <a:pt x="179" y="696"/>
                      <a:pt x="179" y="696"/>
                    </a:cubicBezTo>
                    <a:cubicBezTo>
                      <a:pt x="174" y="631"/>
                      <a:pt x="174" y="631"/>
                      <a:pt x="174" y="631"/>
                    </a:cubicBezTo>
                    <a:cubicBezTo>
                      <a:pt x="159" y="661"/>
                      <a:pt x="159" y="661"/>
                      <a:pt x="159" y="661"/>
                    </a:cubicBezTo>
                    <a:lnTo>
                      <a:pt x="172" y="691"/>
                    </a:lnTo>
                    <a:close/>
                    <a:moveTo>
                      <a:pt x="152" y="676"/>
                    </a:moveTo>
                    <a:cubicBezTo>
                      <a:pt x="170" y="689"/>
                      <a:pt x="170" y="689"/>
                      <a:pt x="170" y="689"/>
                    </a:cubicBezTo>
                    <a:cubicBezTo>
                      <a:pt x="158" y="663"/>
                      <a:pt x="158" y="663"/>
                      <a:pt x="158" y="663"/>
                    </a:cubicBezTo>
                    <a:lnTo>
                      <a:pt x="152" y="676"/>
                    </a:lnTo>
                    <a:close/>
                    <a:moveTo>
                      <a:pt x="142" y="669"/>
                    </a:moveTo>
                    <a:cubicBezTo>
                      <a:pt x="146" y="684"/>
                      <a:pt x="146" y="684"/>
                      <a:pt x="146" y="684"/>
                    </a:cubicBezTo>
                    <a:cubicBezTo>
                      <a:pt x="150" y="676"/>
                      <a:pt x="150" y="676"/>
                      <a:pt x="150" y="676"/>
                    </a:cubicBezTo>
                    <a:lnTo>
                      <a:pt x="142" y="669"/>
                    </a:lnTo>
                    <a:close/>
                    <a:moveTo>
                      <a:pt x="141" y="667"/>
                    </a:moveTo>
                    <a:cubicBezTo>
                      <a:pt x="151" y="675"/>
                      <a:pt x="151" y="675"/>
                      <a:pt x="151" y="675"/>
                    </a:cubicBezTo>
                    <a:cubicBezTo>
                      <a:pt x="158" y="661"/>
                      <a:pt x="158" y="661"/>
                      <a:pt x="158" y="661"/>
                    </a:cubicBezTo>
                    <a:cubicBezTo>
                      <a:pt x="149" y="641"/>
                      <a:pt x="149" y="641"/>
                      <a:pt x="149" y="641"/>
                    </a:cubicBezTo>
                    <a:cubicBezTo>
                      <a:pt x="135" y="648"/>
                      <a:pt x="135" y="648"/>
                      <a:pt x="135" y="648"/>
                    </a:cubicBezTo>
                    <a:lnTo>
                      <a:pt x="141" y="667"/>
                    </a:lnTo>
                    <a:close/>
                    <a:moveTo>
                      <a:pt x="124" y="653"/>
                    </a:moveTo>
                    <a:cubicBezTo>
                      <a:pt x="139" y="665"/>
                      <a:pt x="139" y="665"/>
                      <a:pt x="139" y="665"/>
                    </a:cubicBezTo>
                    <a:cubicBezTo>
                      <a:pt x="134" y="649"/>
                      <a:pt x="134" y="649"/>
                      <a:pt x="134" y="649"/>
                    </a:cubicBezTo>
                    <a:lnTo>
                      <a:pt x="124" y="653"/>
                    </a:lnTo>
                    <a:close/>
                    <a:moveTo>
                      <a:pt x="151" y="640"/>
                    </a:moveTo>
                    <a:cubicBezTo>
                      <a:pt x="159" y="659"/>
                      <a:pt x="159" y="659"/>
                      <a:pt x="159" y="659"/>
                    </a:cubicBezTo>
                    <a:cubicBezTo>
                      <a:pt x="173" y="630"/>
                      <a:pt x="173" y="630"/>
                      <a:pt x="173" y="630"/>
                    </a:cubicBezTo>
                    <a:lnTo>
                      <a:pt x="151" y="640"/>
                    </a:lnTo>
                    <a:close/>
                    <a:moveTo>
                      <a:pt x="123" y="616"/>
                    </a:moveTo>
                    <a:cubicBezTo>
                      <a:pt x="123" y="652"/>
                      <a:pt x="123" y="652"/>
                      <a:pt x="123" y="652"/>
                    </a:cubicBezTo>
                    <a:cubicBezTo>
                      <a:pt x="133" y="647"/>
                      <a:pt x="133" y="647"/>
                      <a:pt x="133" y="647"/>
                    </a:cubicBezTo>
                    <a:lnTo>
                      <a:pt x="123" y="616"/>
                    </a:lnTo>
                    <a:close/>
                    <a:moveTo>
                      <a:pt x="124" y="612"/>
                    </a:moveTo>
                    <a:cubicBezTo>
                      <a:pt x="134" y="647"/>
                      <a:pt x="134" y="647"/>
                      <a:pt x="134" y="647"/>
                    </a:cubicBezTo>
                    <a:cubicBezTo>
                      <a:pt x="149" y="640"/>
                      <a:pt x="149" y="640"/>
                      <a:pt x="149" y="640"/>
                    </a:cubicBezTo>
                    <a:cubicBezTo>
                      <a:pt x="139" y="617"/>
                      <a:pt x="139" y="617"/>
                      <a:pt x="139" y="617"/>
                    </a:cubicBezTo>
                    <a:lnTo>
                      <a:pt x="124" y="612"/>
                    </a:lnTo>
                    <a:close/>
                    <a:moveTo>
                      <a:pt x="141" y="618"/>
                    </a:moveTo>
                    <a:cubicBezTo>
                      <a:pt x="150" y="639"/>
                      <a:pt x="150" y="639"/>
                      <a:pt x="150" y="639"/>
                    </a:cubicBezTo>
                    <a:cubicBezTo>
                      <a:pt x="172" y="628"/>
                      <a:pt x="172" y="628"/>
                      <a:pt x="172" y="628"/>
                    </a:cubicBezTo>
                    <a:lnTo>
                      <a:pt x="141" y="618"/>
                    </a:lnTo>
                    <a:close/>
                    <a:moveTo>
                      <a:pt x="141" y="616"/>
                    </a:moveTo>
                    <a:cubicBezTo>
                      <a:pt x="173" y="627"/>
                      <a:pt x="173" y="627"/>
                      <a:pt x="173" y="627"/>
                    </a:cubicBezTo>
                    <a:cubicBezTo>
                      <a:pt x="157" y="550"/>
                      <a:pt x="157" y="550"/>
                      <a:pt x="157" y="550"/>
                    </a:cubicBezTo>
                    <a:cubicBezTo>
                      <a:pt x="132" y="595"/>
                      <a:pt x="132" y="595"/>
                      <a:pt x="132" y="595"/>
                    </a:cubicBezTo>
                    <a:lnTo>
                      <a:pt x="141" y="616"/>
                    </a:lnTo>
                    <a:close/>
                    <a:moveTo>
                      <a:pt x="158" y="548"/>
                    </a:moveTo>
                    <a:cubicBezTo>
                      <a:pt x="174" y="624"/>
                      <a:pt x="174" y="624"/>
                      <a:pt x="174" y="624"/>
                    </a:cubicBezTo>
                    <a:cubicBezTo>
                      <a:pt x="190" y="489"/>
                      <a:pt x="190" y="489"/>
                      <a:pt x="190" y="489"/>
                    </a:cubicBezTo>
                    <a:lnTo>
                      <a:pt x="158" y="548"/>
                    </a:lnTo>
                    <a:close/>
                    <a:moveTo>
                      <a:pt x="124" y="611"/>
                    </a:moveTo>
                    <a:cubicBezTo>
                      <a:pt x="139" y="616"/>
                      <a:pt x="139" y="616"/>
                      <a:pt x="139" y="616"/>
                    </a:cubicBezTo>
                    <a:cubicBezTo>
                      <a:pt x="131" y="597"/>
                      <a:pt x="131" y="597"/>
                      <a:pt x="131" y="597"/>
                    </a:cubicBezTo>
                    <a:lnTo>
                      <a:pt x="124" y="611"/>
                    </a:lnTo>
                    <a:close/>
                    <a:moveTo>
                      <a:pt x="96" y="513"/>
                    </a:moveTo>
                    <a:cubicBezTo>
                      <a:pt x="122" y="608"/>
                      <a:pt x="122" y="608"/>
                      <a:pt x="122" y="608"/>
                    </a:cubicBezTo>
                    <a:cubicBezTo>
                      <a:pt x="127" y="587"/>
                      <a:pt x="127" y="587"/>
                      <a:pt x="127" y="587"/>
                    </a:cubicBezTo>
                    <a:lnTo>
                      <a:pt x="96" y="513"/>
                    </a:lnTo>
                    <a:close/>
                    <a:moveTo>
                      <a:pt x="128" y="589"/>
                    </a:moveTo>
                    <a:cubicBezTo>
                      <a:pt x="124" y="606"/>
                      <a:pt x="124" y="606"/>
                      <a:pt x="124" y="606"/>
                    </a:cubicBezTo>
                    <a:cubicBezTo>
                      <a:pt x="130" y="595"/>
                      <a:pt x="130" y="595"/>
                      <a:pt x="130" y="595"/>
                    </a:cubicBezTo>
                    <a:lnTo>
                      <a:pt x="128" y="589"/>
                    </a:lnTo>
                    <a:close/>
                    <a:moveTo>
                      <a:pt x="128" y="586"/>
                    </a:moveTo>
                    <a:cubicBezTo>
                      <a:pt x="131" y="594"/>
                      <a:pt x="131" y="594"/>
                      <a:pt x="131" y="594"/>
                    </a:cubicBezTo>
                    <a:cubicBezTo>
                      <a:pt x="156" y="548"/>
                      <a:pt x="156" y="548"/>
                      <a:pt x="156" y="548"/>
                    </a:cubicBezTo>
                    <a:cubicBezTo>
                      <a:pt x="145" y="497"/>
                      <a:pt x="145" y="497"/>
                      <a:pt x="145" y="497"/>
                    </a:cubicBezTo>
                    <a:lnTo>
                      <a:pt x="128" y="586"/>
                    </a:lnTo>
                    <a:close/>
                    <a:moveTo>
                      <a:pt x="93" y="503"/>
                    </a:moveTo>
                    <a:cubicBezTo>
                      <a:pt x="127" y="584"/>
                      <a:pt x="127" y="584"/>
                      <a:pt x="127" y="584"/>
                    </a:cubicBezTo>
                    <a:cubicBezTo>
                      <a:pt x="145" y="493"/>
                      <a:pt x="145" y="493"/>
                      <a:pt x="145" y="493"/>
                    </a:cubicBezTo>
                    <a:cubicBezTo>
                      <a:pt x="143" y="486"/>
                      <a:pt x="143" y="486"/>
                      <a:pt x="143" y="486"/>
                    </a:cubicBezTo>
                    <a:lnTo>
                      <a:pt x="93" y="503"/>
                    </a:lnTo>
                    <a:close/>
                    <a:moveTo>
                      <a:pt x="146" y="493"/>
                    </a:moveTo>
                    <a:cubicBezTo>
                      <a:pt x="157" y="546"/>
                      <a:pt x="157" y="546"/>
                      <a:pt x="157" y="546"/>
                    </a:cubicBezTo>
                    <a:cubicBezTo>
                      <a:pt x="190" y="486"/>
                      <a:pt x="190" y="486"/>
                      <a:pt x="190" y="486"/>
                    </a:cubicBezTo>
                    <a:cubicBezTo>
                      <a:pt x="148" y="486"/>
                      <a:pt x="148" y="486"/>
                      <a:pt x="148" y="486"/>
                    </a:cubicBezTo>
                    <a:lnTo>
                      <a:pt x="146" y="493"/>
                    </a:lnTo>
                    <a:close/>
                    <a:moveTo>
                      <a:pt x="127" y="472"/>
                    </a:moveTo>
                    <a:cubicBezTo>
                      <a:pt x="95" y="500"/>
                      <a:pt x="95" y="500"/>
                      <a:pt x="95" y="500"/>
                    </a:cubicBezTo>
                    <a:cubicBezTo>
                      <a:pt x="142" y="485"/>
                      <a:pt x="142" y="485"/>
                      <a:pt x="142" y="485"/>
                    </a:cubicBezTo>
                    <a:lnTo>
                      <a:pt x="127" y="472"/>
                    </a:lnTo>
                    <a:close/>
                    <a:moveTo>
                      <a:pt x="84" y="454"/>
                    </a:moveTo>
                    <a:cubicBezTo>
                      <a:pt x="92" y="500"/>
                      <a:pt x="92" y="500"/>
                      <a:pt x="92" y="500"/>
                    </a:cubicBezTo>
                    <a:cubicBezTo>
                      <a:pt x="114" y="463"/>
                      <a:pt x="114" y="463"/>
                      <a:pt x="114" y="463"/>
                    </a:cubicBezTo>
                    <a:cubicBezTo>
                      <a:pt x="100" y="452"/>
                      <a:pt x="100" y="452"/>
                      <a:pt x="100" y="452"/>
                    </a:cubicBezTo>
                    <a:lnTo>
                      <a:pt x="84" y="454"/>
                    </a:lnTo>
                    <a:close/>
                    <a:moveTo>
                      <a:pt x="115" y="464"/>
                    </a:moveTo>
                    <a:cubicBezTo>
                      <a:pt x="95" y="498"/>
                      <a:pt x="95" y="498"/>
                      <a:pt x="95" y="498"/>
                    </a:cubicBezTo>
                    <a:cubicBezTo>
                      <a:pt x="125" y="472"/>
                      <a:pt x="125" y="472"/>
                      <a:pt x="125" y="472"/>
                    </a:cubicBezTo>
                    <a:lnTo>
                      <a:pt x="115" y="464"/>
                    </a:lnTo>
                    <a:close/>
                    <a:moveTo>
                      <a:pt x="145" y="486"/>
                    </a:moveTo>
                    <a:cubicBezTo>
                      <a:pt x="145" y="490"/>
                      <a:pt x="145" y="490"/>
                      <a:pt x="145" y="490"/>
                    </a:cubicBezTo>
                    <a:cubicBezTo>
                      <a:pt x="146" y="486"/>
                      <a:pt x="146" y="486"/>
                      <a:pt x="146" y="486"/>
                    </a:cubicBezTo>
                    <a:lnTo>
                      <a:pt x="145" y="486"/>
                    </a:lnTo>
                    <a:close/>
                    <a:moveTo>
                      <a:pt x="148" y="484"/>
                    </a:moveTo>
                    <a:cubicBezTo>
                      <a:pt x="190" y="484"/>
                      <a:pt x="190" y="484"/>
                      <a:pt x="190" y="484"/>
                    </a:cubicBezTo>
                    <a:cubicBezTo>
                      <a:pt x="184" y="452"/>
                      <a:pt x="184" y="452"/>
                      <a:pt x="184" y="452"/>
                    </a:cubicBezTo>
                    <a:cubicBezTo>
                      <a:pt x="161" y="442"/>
                      <a:pt x="161" y="442"/>
                      <a:pt x="161" y="442"/>
                    </a:cubicBezTo>
                    <a:cubicBezTo>
                      <a:pt x="155" y="447"/>
                      <a:pt x="155" y="447"/>
                      <a:pt x="155" y="447"/>
                    </a:cubicBezTo>
                    <a:lnTo>
                      <a:pt x="148" y="484"/>
                    </a:lnTo>
                    <a:close/>
                    <a:moveTo>
                      <a:pt x="145" y="484"/>
                    </a:moveTo>
                    <a:cubicBezTo>
                      <a:pt x="146" y="484"/>
                      <a:pt x="146" y="484"/>
                      <a:pt x="146" y="484"/>
                    </a:cubicBezTo>
                    <a:cubicBezTo>
                      <a:pt x="153" y="449"/>
                      <a:pt x="153" y="449"/>
                      <a:pt x="153" y="449"/>
                    </a:cubicBezTo>
                    <a:cubicBezTo>
                      <a:pt x="152" y="450"/>
                      <a:pt x="152" y="450"/>
                      <a:pt x="152" y="450"/>
                    </a:cubicBezTo>
                    <a:lnTo>
                      <a:pt x="145" y="484"/>
                    </a:lnTo>
                    <a:close/>
                    <a:moveTo>
                      <a:pt x="133" y="467"/>
                    </a:moveTo>
                    <a:cubicBezTo>
                      <a:pt x="143" y="483"/>
                      <a:pt x="143" y="483"/>
                      <a:pt x="143" y="483"/>
                    </a:cubicBezTo>
                    <a:cubicBezTo>
                      <a:pt x="150" y="451"/>
                      <a:pt x="150" y="451"/>
                      <a:pt x="150" y="451"/>
                    </a:cubicBezTo>
                    <a:lnTo>
                      <a:pt x="133" y="467"/>
                    </a:lnTo>
                    <a:close/>
                    <a:moveTo>
                      <a:pt x="186" y="453"/>
                    </a:moveTo>
                    <a:cubicBezTo>
                      <a:pt x="191" y="483"/>
                      <a:pt x="191" y="483"/>
                      <a:pt x="191" y="483"/>
                    </a:cubicBezTo>
                    <a:cubicBezTo>
                      <a:pt x="202" y="460"/>
                      <a:pt x="202" y="460"/>
                      <a:pt x="202" y="460"/>
                    </a:cubicBezTo>
                    <a:lnTo>
                      <a:pt x="186" y="453"/>
                    </a:lnTo>
                    <a:close/>
                    <a:moveTo>
                      <a:pt x="204" y="460"/>
                    </a:moveTo>
                    <a:cubicBezTo>
                      <a:pt x="193" y="482"/>
                      <a:pt x="193" y="482"/>
                      <a:pt x="193" y="482"/>
                    </a:cubicBezTo>
                    <a:cubicBezTo>
                      <a:pt x="214" y="464"/>
                      <a:pt x="214" y="464"/>
                      <a:pt x="214" y="464"/>
                    </a:cubicBezTo>
                    <a:lnTo>
                      <a:pt x="204" y="460"/>
                    </a:lnTo>
                    <a:close/>
                    <a:moveTo>
                      <a:pt x="128" y="471"/>
                    </a:moveTo>
                    <a:cubicBezTo>
                      <a:pt x="141" y="482"/>
                      <a:pt x="141" y="482"/>
                      <a:pt x="141" y="482"/>
                    </a:cubicBezTo>
                    <a:cubicBezTo>
                      <a:pt x="132" y="468"/>
                      <a:pt x="132" y="468"/>
                      <a:pt x="132" y="468"/>
                    </a:cubicBezTo>
                    <a:lnTo>
                      <a:pt x="128" y="471"/>
                    </a:lnTo>
                    <a:close/>
                    <a:moveTo>
                      <a:pt x="116" y="462"/>
                    </a:moveTo>
                    <a:cubicBezTo>
                      <a:pt x="127" y="471"/>
                      <a:pt x="127" y="471"/>
                      <a:pt x="127" y="471"/>
                    </a:cubicBezTo>
                    <a:cubicBezTo>
                      <a:pt x="131" y="467"/>
                      <a:pt x="131" y="467"/>
                      <a:pt x="131" y="467"/>
                    </a:cubicBezTo>
                    <a:cubicBezTo>
                      <a:pt x="122" y="452"/>
                      <a:pt x="122" y="452"/>
                      <a:pt x="122" y="452"/>
                    </a:cubicBezTo>
                    <a:lnTo>
                      <a:pt x="116" y="462"/>
                    </a:lnTo>
                    <a:close/>
                    <a:moveTo>
                      <a:pt x="217" y="464"/>
                    </a:moveTo>
                    <a:cubicBezTo>
                      <a:pt x="232" y="470"/>
                      <a:pt x="232" y="470"/>
                      <a:pt x="232" y="470"/>
                    </a:cubicBezTo>
                    <a:cubicBezTo>
                      <a:pt x="236" y="448"/>
                      <a:pt x="236" y="448"/>
                      <a:pt x="236" y="448"/>
                    </a:cubicBezTo>
                    <a:lnTo>
                      <a:pt x="217" y="464"/>
                    </a:lnTo>
                    <a:close/>
                    <a:moveTo>
                      <a:pt x="123" y="451"/>
                    </a:moveTo>
                    <a:cubicBezTo>
                      <a:pt x="132" y="466"/>
                      <a:pt x="132" y="466"/>
                      <a:pt x="132" y="466"/>
                    </a:cubicBezTo>
                    <a:cubicBezTo>
                      <a:pt x="151" y="449"/>
                      <a:pt x="151" y="449"/>
                      <a:pt x="151" y="449"/>
                    </a:cubicBezTo>
                    <a:cubicBezTo>
                      <a:pt x="152" y="443"/>
                      <a:pt x="152" y="443"/>
                      <a:pt x="152" y="443"/>
                    </a:cubicBezTo>
                    <a:cubicBezTo>
                      <a:pt x="125" y="448"/>
                      <a:pt x="125" y="448"/>
                      <a:pt x="125" y="448"/>
                    </a:cubicBezTo>
                    <a:lnTo>
                      <a:pt x="123" y="451"/>
                    </a:lnTo>
                    <a:close/>
                    <a:moveTo>
                      <a:pt x="204" y="459"/>
                    </a:moveTo>
                    <a:cubicBezTo>
                      <a:pt x="215" y="463"/>
                      <a:pt x="215" y="463"/>
                      <a:pt x="215" y="463"/>
                    </a:cubicBezTo>
                    <a:cubicBezTo>
                      <a:pt x="236" y="446"/>
                      <a:pt x="236" y="446"/>
                      <a:pt x="236" y="446"/>
                    </a:cubicBezTo>
                    <a:cubicBezTo>
                      <a:pt x="238" y="429"/>
                      <a:pt x="238" y="429"/>
                      <a:pt x="238" y="429"/>
                    </a:cubicBezTo>
                    <a:cubicBezTo>
                      <a:pt x="217" y="433"/>
                      <a:pt x="217" y="433"/>
                      <a:pt x="217" y="433"/>
                    </a:cubicBezTo>
                    <a:lnTo>
                      <a:pt x="204" y="459"/>
                    </a:lnTo>
                    <a:close/>
                    <a:moveTo>
                      <a:pt x="102" y="451"/>
                    </a:moveTo>
                    <a:cubicBezTo>
                      <a:pt x="115" y="461"/>
                      <a:pt x="115" y="461"/>
                      <a:pt x="115" y="461"/>
                    </a:cubicBezTo>
                    <a:cubicBezTo>
                      <a:pt x="121" y="451"/>
                      <a:pt x="121" y="451"/>
                      <a:pt x="121" y="451"/>
                    </a:cubicBezTo>
                    <a:cubicBezTo>
                      <a:pt x="120" y="449"/>
                      <a:pt x="120" y="449"/>
                      <a:pt x="120" y="449"/>
                    </a:cubicBezTo>
                    <a:lnTo>
                      <a:pt x="102" y="451"/>
                    </a:lnTo>
                    <a:close/>
                    <a:moveTo>
                      <a:pt x="77" y="433"/>
                    </a:moveTo>
                    <a:cubicBezTo>
                      <a:pt x="35" y="461"/>
                      <a:pt x="35" y="461"/>
                      <a:pt x="35" y="461"/>
                    </a:cubicBezTo>
                    <a:cubicBezTo>
                      <a:pt x="82" y="453"/>
                      <a:pt x="82" y="453"/>
                      <a:pt x="82" y="453"/>
                    </a:cubicBezTo>
                    <a:cubicBezTo>
                      <a:pt x="79" y="434"/>
                      <a:pt x="79" y="434"/>
                      <a:pt x="79" y="434"/>
                    </a:cubicBezTo>
                    <a:lnTo>
                      <a:pt x="77" y="433"/>
                    </a:lnTo>
                    <a:close/>
                    <a:moveTo>
                      <a:pt x="10" y="379"/>
                    </a:moveTo>
                    <a:cubicBezTo>
                      <a:pt x="32" y="460"/>
                      <a:pt x="32" y="460"/>
                      <a:pt x="32" y="460"/>
                    </a:cubicBezTo>
                    <a:cubicBezTo>
                      <a:pt x="64" y="423"/>
                      <a:pt x="64" y="423"/>
                      <a:pt x="64" y="423"/>
                    </a:cubicBezTo>
                    <a:lnTo>
                      <a:pt x="10" y="379"/>
                    </a:lnTo>
                    <a:close/>
                    <a:moveTo>
                      <a:pt x="65" y="424"/>
                    </a:moveTo>
                    <a:cubicBezTo>
                      <a:pt x="36" y="458"/>
                      <a:pt x="36" y="458"/>
                      <a:pt x="36" y="458"/>
                    </a:cubicBezTo>
                    <a:cubicBezTo>
                      <a:pt x="75" y="432"/>
                      <a:pt x="75" y="432"/>
                      <a:pt x="75" y="432"/>
                    </a:cubicBezTo>
                    <a:lnTo>
                      <a:pt x="65" y="424"/>
                    </a:lnTo>
                    <a:close/>
                    <a:moveTo>
                      <a:pt x="186" y="451"/>
                    </a:moveTo>
                    <a:cubicBezTo>
                      <a:pt x="203" y="458"/>
                      <a:pt x="203" y="458"/>
                      <a:pt x="203" y="458"/>
                    </a:cubicBezTo>
                    <a:cubicBezTo>
                      <a:pt x="215" y="433"/>
                      <a:pt x="215" y="433"/>
                      <a:pt x="215" y="433"/>
                    </a:cubicBezTo>
                    <a:cubicBezTo>
                      <a:pt x="183" y="438"/>
                      <a:pt x="183" y="438"/>
                      <a:pt x="183" y="438"/>
                    </a:cubicBezTo>
                    <a:lnTo>
                      <a:pt x="186" y="451"/>
                    </a:lnTo>
                    <a:close/>
                    <a:moveTo>
                      <a:pt x="81" y="436"/>
                    </a:moveTo>
                    <a:cubicBezTo>
                      <a:pt x="84" y="453"/>
                      <a:pt x="84" y="453"/>
                      <a:pt x="84" y="453"/>
                    </a:cubicBezTo>
                    <a:cubicBezTo>
                      <a:pt x="99" y="450"/>
                      <a:pt x="99" y="450"/>
                      <a:pt x="99" y="450"/>
                    </a:cubicBezTo>
                    <a:lnTo>
                      <a:pt x="81" y="436"/>
                    </a:lnTo>
                    <a:close/>
                    <a:moveTo>
                      <a:pt x="163" y="441"/>
                    </a:moveTo>
                    <a:cubicBezTo>
                      <a:pt x="184" y="450"/>
                      <a:pt x="184" y="450"/>
                      <a:pt x="184" y="450"/>
                    </a:cubicBezTo>
                    <a:cubicBezTo>
                      <a:pt x="182" y="438"/>
                      <a:pt x="182" y="438"/>
                      <a:pt x="182" y="438"/>
                    </a:cubicBezTo>
                    <a:lnTo>
                      <a:pt x="163" y="441"/>
                    </a:lnTo>
                    <a:close/>
                    <a:moveTo>
                      <a:pt x="80" y="434"/>
                    </a:moveTo>
                    <a:cubicBezTo>
                      <a:pt x="101" y="450"/>
                      <a:pt x="101" y="450"/>
                      <a:pt x="101" y="450"/>
                    </a:cubicBezTo>
                    <a:cubicBezTo>
                      <a:pt x="119" y="447"/>
                      <a:pt x="119" y="447"/>
                      <a:pt x="119" y="447"/>
                    </a:cubicBezTo>
                    <a:cubicBezTo>
                      <a:pt x="100" y="417"/>
                      <a:pt x="100" y="417"/>
                      <a:pt x="100" y="417"/>
                    </a:cubicBezTo>
                    <a:cubicBezTo>
                      <a:pt x="80" y="431"/>
                      <a:pt x="80" y="431"/>
                      <a:pt x="80" y="431"/>
                    </a:cubicBezTo>
                    <a:lnTo>
                      <a:pt x="80" y="434"/>
                    </a:lnTo>
                    <a:close/>
                    <a:moveTo>
                      <a:pt x="154" y="443"/>
                    </a:moveTo>
                    <a:cubicBezTo>
                      <a:pt x="153" y="447"/>
                      <a:pt x="153" y="447"/>
                      <a:pt x="153" y="447"/>
                    </a:cubicBezTo>
                    <a:cubicBezTo>
                      <a:pt x="154" y="446"/>
                      <a:pt x="154" y="446"/>
                      <a:pt x="154" y="446"/>
                    </a:cubicBezTo>
                    <a:cubicBezTo>
                      <a:pt x="155" y="443"/>
                      <a:pt x="155" y="443"/>
                      <a:pt x="155" y="443"/>
                    </a:cubicBezTo>
                    <a:lnTo>
                      <a:pt x="154" y="443"/>
                    </a:lnTo>
                    <a:close/>
                    <a:moveTo>
                      <a:pt x="101" y="417"/>
                    </a:moveTo>
                    <a:cubicBezTo>
                      <a:pt x="120" y="447"/>
                      <a:pt x="120" y="447"/>
                      <a:pt x="120" y="447"/>
                    </a:cubicBezTo>
                    <a:cubicBezTo>
                      <a:pt x="124" y="446"/>
                      <a:pt x="124" y="446"/>
                      <a:pt x="124" y="446"/>
                    </a:cubicBezTo>
                    <a:cubicBezTo>
                      <a:pt x="133" y="430"/>
                      <a:pt x="133" y="430"/>
                      <a:pt x="133" y="430"/>
                    </a:cubicBezTo>
                    <a:lnTo>
                      <a:pt x="101" y="417"/>
                    </a:lnTo>
                    <a:close/>
                    <a:moveTo>
                      <a:pt x="134" y="431"/>
                    </a:moveTo>
                    <a:cubicBezTo>
                      <a:pt x="126" y="446"/>
                      <a:pt x="126" y="446"/>
                      <a:pt x="126" y="446"/>
                    </a:cubicBezTo>
                    <a:cubicBezTo>
                      <a:pt x="153" y="442"/>
                      <a:pt x="153" y="442"/>
                      <a:pt x="153" y="442"/>
                    </a:cubicBezTo>
                    <a:cubicBezTo>
                      <a:pt x="153" y="439"/>
                      <a:pt x="153" y="439"/>
                      <a:pt x="153" y="439"/>
                    </a:cubicBezTo>
                    <a:lnTo>
                      <a:pt x="134" y="431"/>
                    </a:lnTo>
                    <a:close/>
                    <a:moveTo>
                      <a:pt x="156" y="443"/>
                    </a:moveTo>
                    <a:cubicBezTo>
                      <a:pt x="156" y="445"/>
                      <a:pt x="156" y="445"/>
                      <a:pt x="156" y="445"/>
                    </a:cubicBezTo>
                    <a:cubicBezTo>
                      <a:pt x="159" y="442"/>
                      <a:pt x="159" y="442"/>
                      <a:pt x="159" y="442"/>
                    </a:cubicBezTo>
                    <a:lnTo>
                      <a:pt x="156" y="443"/>
                    </a:lnTo>
                    <a:close/>
                    <a:moveTo>
                      <a:pt x="240" y="429"/>
                    </a:moveTo>
                    <a:cubicBezTo>
                      <a:pt x="238" y="444"/>
                      <a:pt x="238" y="444"/>
                      <a:pt x="238" y="444"/>
                    </a:cubicBezTo>
                    <a:cubicBezTo>
                      <a:pt x="259" y="426"/>
                      <a:pt x="259" y="426"/>
                      <a:pt x="259" y="426"/>
                    </a:cubicBezTo>
                    <a:lnTo>
                      <a:pt x="240" y="429"/>
                    </a:lnTo>
                    <a:close/>
                    <a:moveTo>
                      <a:pt x="155" y="440"/>
                    </a:moveTo>
                    <a:cubicBezTo>
                      <a:pt x="154" y="441"/>
                      <a:pt x="154" y="441"/>
                      <a:pt x="154" y="441"/>
                    </a:cubicBezTo>
                    <a:cubicBezTo>
                      <a:pt x="155" y="441"/>
                      <a:pt x="155" y="441"/>
                      <a:pt x="155" y="441"/>
                    </a:cubicBezTo>
                    <a:cubicBezTo>
                      <a:pt x="155" y="440"/>
                      <a:pt x="155" y="440"/>
                      <a:pt x="155" y="440"/>
                    </a:cubicBezTo>
                    <a:close/>
                    <a:moveTo>
                      <a:pt x="157" y="439"/>
                    </a:moveTo>
                    <a:cubicBezTo>
                      <a:pt x="161" y="440"/>
                      <a:pt x="161" y="440"/>
                      <a:pt x="161" y="440"/>
                    </a:cubicBezTo>
                    <a:cubicBezTo>
                      <a:pt x="161" y="440"/>
                      <a:pt x="161" y="440"/>
                      <a:pt x="161" y="440"/>
                    </a:cubicBezTo>
                    <a:cubicBezTo>
                      <a:pt x="179" y="424"/>
                      <a:pt x="179" y="424"/>
                      <a:pt x="179" y="424"/>
                    </a:cubicBezTo>
                    <a:cubicBezTo>
                      <a:pt x="176" y="410"/>
                      <a:pt x="176" y="410"/>
                      <a:pt x="176" y="410"/>
                    </a:cubicBezTo>
                    <a:cubicBezTo>
                      <a:pt x="163" y="407"/>
                      <a:pt x="163" y="407"/>
                      <a:pt x="163" y="407"/>
                    </a:cubicBezTo>
                    <a:lnTo>
                      <a:pt x="157" y="439"/>
                    </a:lnTo>
                    <a:close/>
                    <a:moveTo>
                      <a:pt x="179" y="426"/>
                    </a:moveTo>
                    <a:cubicBezTo>
                      <a:pt x="163" y="440"/>
                      <a:pt x="163" y="440"/>
                      <a:pt x="163" y="440"/>
                    </a:cubicBezTo>
                    <a:cubicBezTo>
                      <a:pt x="181" y="437"/>
                      <a:pt x="181" y="437"/>
                      <a:pt x="181" y="437"/>
                    </a:cubicBezTo>
                    <a:lnTo>
                      <a:pt x="179" y="426"/>
                    </a:lnTo>
                    <a:close/>
                    <a:moveTo>
                      <a:pt x="155" y="438"/>
                    </a:moveTo>
                    <a:cubicBezTo>
                      <a:pt x="155" y="438"/>
                      <a:pt x="155" y="438"/>
                      <a:pt x="155" y="438"/>
                    </a:cubicBezTo>
                    <a:cubicBezTo>
                      <a:pt x="159" y="422"/>
                      <a:pt x="159" y="422"/>
                      <a:pt x="159" y="422"/>
                    </a:cubicBezTo>
                    <a:lnTo>
                      <a:pt x="155" y="438"/>
                    </a:lnTo>
                    <a:close/>
                    <a:moveTo>
                      <a:pt x="135" y="430"/>
                    </a:moveTo>
                    <a:cubicBezTo>
                      <a:pt x="154" y="437"/>
                      <a:pt x="154" y="437"/>
                      <a:pt x="154" y="437"/>
                    </a:cubicBezTo>
                    <a:cubicBezTo>
                      <a:pt x="160" y="407"/>
                      <a:pt x="160" y="407"/>
                      <a:pt x="160" y="407"/>
                    </a:cubicBezTo>
                    <a:cubicBezTo>
                      <a:pt x="150" y="405"/>
                      <a:pt x="150" y="405"/>
                      <a:pt x="150" y="405"/>
                    </a:cubicBezTo>
                    <a:lnTo>
                      <a:pt x="135" y="430"/>
                    </a:lnTo>
                    <a:close/>
                    <a:moveTo>
                      <a:pt x="181" y="425"/>
                    </a:moveTo>
                    <a:cubicBezTo>
                      <a:pt x="183" y="437"/>
                      <a:pt x="183" y="437"/>
                      <a:pt x="183" y="437"/>
                    </a:cubicBezTo>
                    <a:cubicBezTo>
                      <a:pt x="216" y="431"/>
                      <a:pt x="216" y="431"/>
                      <a:pt x="216" y="431"/>
                    </a:cubicBezTo>
                    <a:cubicBezTo>
                      <a:pt x="222" y="418"/>
                      <a:pt x="222" y="418"/>
                      <a:pt x="222" y="418"/>
                    </a:cubicBezTo>
                    <a:cubicBezTo>
                      <a:pt x="194" y="413"/>
                      <a:pt x="194" y="413"/>
                      <a:pt x="194" y="413"/>
                    </a:cubicBezTo>
                    <a:lnTo>
                      <a:pt x="181" y="425"/>
                    </a:lnTo>
                    <a:close/>
                    <a:moveTo>
                      <a:pt x="224" y="418"/>
                    </a:moveTo>
                    <a:cubicBezTo>
                      <a:pt x="218" y="431"/>
                      <a:pt x="218" y="431"/>
                      <a:pt x="218" y="431"/>
                    </a:cubicBezTo>
                    <a:cubicBezTo>
                      <a:pt x="239" y="428"/>
                      <a:pt x="239" y="428"/>
                      <a:pt x="239" y="428"/>
                    </a:cubicBezTo>
                    <a:cubicBezTo>
                      <a:pt x="240" y="421"/>
                      <a:pt x="240" y="421"/>
                      <a:pt x="240" y="421"/>
                    </a:cubicBezTo>
                    <a:lnTo>
                      <a:pt x="224" y="418"/>
                    </a:lnTo>
                    <a:close/>
                    <a:moveTo>
                      <a:pt x="66" y="422"/>
                    </a:moveTo>
                    <a:cubicBezTo>
                      <a:pt x="77" y="431"/>
                      <a:pt x="77" y="431"/>
                      <a:pt x="77" y="431"/>
                    </a:cubicBezTo>
                    <a:cubicBezTo>
                      <a:pt x="78" y="430"/>
                      <a:pt x="78" y="430"/>
                      <a:pt x="78" y="430"/>
                    </a:cubicBezTo>
                    <a:cubicBezTo>
                      <a:pt x="75" y="412"/>
                      <a:pt x="75" y="412"/>
                      <a:pt x="75" y="412"/>
                    </a:cubicBezTo>
                    <a:lnTo>
                      <a:pt x="66" y="422"/>
                    </a:lnTo>
                    <a:close/>
                    <a:moveTo>
                      <a:pt x="102" y="416"/>
                    </a:moveTo>
                    <a:cubicBezTo>
                      <a:pt x="134" y="429"/>
                      <a:pt x="134" y="429"/>
                      <a:pt x="134" y="429"/>
                    </a:cubicBezTo>
                    <a:cubicBezTo>
                      <a:pt x="148" y="404"/>
                      <a:pt x="148" y="404"/>
                      <a:pt x="148" y="404"/>
                    </a:cubicBezTo>
                    <a:cubicBezTo>
                      <a:pt x="125" y="400"/>
                      <a:pt x="125" y="400"/>
                      <a:pt x="125" y="400"/>
                    </a:cubicBezTo>
                    <a:lnTo>
                      <a:pt x="102" y="416"/>
                    </a:lnTo>
                    <a:close/>
                    <a:moveTo>
                      <a:pt x="76" y="411"/>
                    </a:moveTo>
                    <a:cubicBezTo>
                      <a:pt x="79" y="429"/>
                      <a:pt x="79" y="429"/>
                      <a:pt x="79" y="429"/>
                    </a:cubicBezTo>
                    <a:cubicBezTo>
                      <a:pt x="99" y="416"/>
                      <a:pt x="99" y="416"/>
                      <a:pt x="99" y="416"/>
                    </a:cubicBezTo>
                    <a:cubicBezTo>
                      <a:pt x="78" y="408"/>
                      <a:pt x="78" y="408"/>
                      <a:pt x="78" y="408"/>
                    </a:cubicBezTo>
                    <a:lnTo>
                      <a:pt x="76" y="411"/>
                    </a:lnTo>
                    <a:close/>
                    <a:moveTo>
                      <a:pt x="241" y="422"/>
                    </a:moveTo>
                    <a:cubicBezTo>
                      <a:pt x="240" y="427"/>
                      <a:pt x="240" y="427"/>
                      <a:pt x="240" y="427"/>
                    </a:cubicBezTo>
                    <a:cubicBezTo>
                      <a:pt x="257" y="425"/>
                      <a:pt x="257" y="425"/>
                      <a:pt x="257" y="425"/>
                    </a:cubicBezTo>
                    <a:lnTo>
                      <a:pt x="241" y="422"/>
                    </a:lnTo>
                    <a:close/>
                    <a:moveTo>
                      <a:pt x="241" y="420"/>
                    </a:moveTo>
                    <a:cubicBezTo>
                      <a:pt x="258" y="423"/>
                      <a:pt x="258" y="423"/>
                      <a:pt x="258" y="423"/>
                    </a:cubicBezTo>
                    <a:cubicBezTo>
                      <a:pt x="242" y="414"/>
                      <a:pt x="242" y="414"/>
                      <a:pt x="242" y="414"/>
                    </a:cubicBezTo>
                    <a:lnTo>
                      <a:pt x="241" y="420"/>
                    </a:lnTo>
                    <a:close/>
                    <a:moveTo>
                      <a:pt x="178" y="410"/>
                    </a:moveTo>
                    <a:cubicBezTo>
                      <a:pt x="180" y="423"/>
                      <a:pt x="180" y="423"/>
                      <a:pt x="180" y="423"/>
                    </a:cubicBezTo>
                    <a:cubicBezTo>
                      <a:pt x="192" y="413"/>
                      <a:pt x="192" y="413"/>
                      <a:pt x="192" y="413"/>
                    </a:cubicBezTo>
                    <a:lnTo>
                      <a:pt x="178" y="410"/>
                    </a:lnTo>
                    <a:close/>
                    <a:moveTo>
                      <a:pt x="13" y="380"/>
                    </a:moveTo>
                    <a:cubicBezTo>
                      <a:pt x="65" y="421"/>
                      <a:pt x="65" y="421"/>
                      <a:pt x="65" y="421"/>
                    </a:cubicBezTo>
                    <a:cubicBezTo>
                      <a:pt x="74" y="410"/>
                      <a:pt x="74" y="410"/>
                      <a:pt x="74" y="410"/>
                    </a:cubicBezTo>
                    <a:cubicBezTo>
                      <a:pt x="73" y="406"/>
                      <a:pt x="73" y="406"/>
                      <a:pt x="73" y="406"/>
                    </a:cubicBezTo>
                    <a:lnTo>
                      <a:pt x="13" y="380"/>
                    </a:lnTo>
                    <a:close/>
                    <a:moveTo>
                      <a:pt x="224" y="417"/>
                    </a:moveTo>
                    <a:cubicBezTo>
                      <a:pt x="240" y="420"/>
                      <a:pt x="240" y="420"/>
                      <a:pt x="240" y="420"/>
                    </a:cubicBezTo>
                    <a:cubicBezTo>
                      <a:pt x="241" y="413"/>
                      <a:pt x="241" y="413"/>
                      <a:pt x="241" y="413"/>
                    </a:cubicBezTo>
                    <a:cubicBezTo>
                      <a:pt x="229" y="406"/>
                      <a:pt x="229" y="406"/>
                      <a:pt x="229" y="406"/>
                    </a:cubicBezTo>
                    <a:lnTo>
                      <a:pt x="224" y="417"/>
                    </a:lnTo>
                    <a:close/>
                    <a:moveTo>
                      <a:pt x="195" y="412"/>
                    </a:moveTo>
                    <a:cubicBezTo>
                      <a:pt x="223" y="417"/>
                      <a:pt x="223" y="417"/>
                      <a:pt x="223" y="417"/>
                    </a:cubicBezTo>
                    <a:cubicBezTo>
                      <a:pt x="228" y="405"/>
                      <a:pt x="228" y="405"/>
                      <a:pt x="228" y="405"/>
                    </a:cubicBezTo>
                    <a:cubicBezTo>
                      <a:pt x="213" y="396"/>
                      <a:pt x="213" y="396"/>
                      <a:pt x="213" y="396"/>
                    </a:cubicBezTo>
                    <a:lnTo>
                      <a:pt x="195" y="412"/>
                    </a:lnTo>
                    <a:close/>
                    <a:moveTo>
                      <a:pt x="100" y="415"/>
                    </a:moveTo>
                    <a:cubicBezTo>
                      <a:pt x="100" y="415"/>
                      <a:pt x="100" y="415"/>
                      <a:pt x="100" y="415"/>
                    </a:cubicBezTo>
                    <a:cubicBezTo>
                      <a:pt x="123" y="400"/>
                      <a:pt x="123" y="400"/>
                      <a:pt x="123" y="400"/>
                    </a:cubicBezTo>
                    <a:cubicBezTo>
                      <a:pt x="90" y="393"/>
                      <a:pt x="90" y="393"/>
                      <a:pt x="90" y="393"/>
                    </a:cubicBezTo>
                    <a:cubicBezTo>
                      <a:pt x="88" y="396"/>
                      <a:pt x="88" y="396"/>
                      <a:pt x="88" y="396"/>
                    </a:cubicBezTo>
                    <a:lnTo>
                      <a:pt x="100" y="415"/>
                    </a:lnTo>
                    <a:close/>
                    <a:moveTo>
                      <a:pt x="79" y="406"/>
                    </a:moveTo>
                    <a:cubicBezTo>
                      <a:pt x="97" y="414"/>
                      <a:pt x="97" y="414"/>
                      <a:pt x="97" y="414"/>
                    </a:cubicBezTo>
                    <a:cubicBezTo>
                      <a:pt x="87" y="397"/>
                      <a:pt x="87" y="397"/>
                      <a:pt x="87" y="397"/>
                    </a:cubicBezTo>
                    <a:lnTo>
                      <a:pt x="79" y="406"/>
                    </a:lnTo>
                    <a:close/>
                    <a:moveTo>
                      <a:pt x="230" y="405"/>
                    </a:moveTo>
                    <a:cubicBezTo>
                      <a:pt x="241" y="411"/>
                      <a:pt x="241" y="411"/>
                      <a:pt x="241" y="411"/>
                    </a:cubicBezTo>
                    <a:cubicBezTo>
                      <a:pt x="247" y="368"/>
                      <a:pt x="247" y="368"/>
                      <a:pt x="247" y="368"/>
                    </a:cubicBezTo>
                    <a:lnTo>
                      <a:pt x="230" y="405"/>
                    </a:lnTo>
                    <a:close/>
                    <a:moveTo>
                      <a:pt x="178" y="408"/>
                    </a:moveTo>
                    <a:cubicBezTo>
                      <a:pt x="194" y="411"/>
                      <a:pt x="194" y="411"/>
                      <a:pt x="194" y="411"/>
                    </a:cubicBezTo>
                    <a:cubicBezTo>
                      <a:pt x="212" y="395"/>
                      <a:pt x="212" y="395"/>
                      <a:pt x="212" y="395"/>
                    </a:cubicBezTo>
                    <a:cubicBezTo>
                      <a:pt x="171" y="371"/>
                      <a:pt x="171" y="371"/>
                      <a:pt x="171" y="371"/>
                    </a:cubicBezTo>
                    <a:lnTo>
                      <a:pt x="178" y="408"/>
                    </a:lnTo>
                    <a:close/>
                    <a:moveTo>
                      <a:pt x="75" y="406"/>
                    </a:moveTo>
                    <a:cubicBezTo>
                      <a:pt x="76" y="409"/>
                      <a:pt x="76" y="409"/>
                      <a:pt x="76" y="409"/>
                    </a:cubicBezTo>
                    <a:cubicBezTo>
                      <a:pt x="77" y="407"/>
                      <a:pt x="77" y="407"/>
                      <a:pt x="77" y="407"/>
                    </a:cubicBezTo>
                    <a:lnTo>
                      <a:pt x="75" y="406"/>
                    </a:lnTo>
                    <a:close/>
                    <a:moveTo>
                      <a:pt x="163" y="406"/>
                    </a:moveTo>
                    <a:cubicBezTo>
                      <a:pt x="176" y="408"/>
                      <a:pt x="176" y="408"/>
                      <a:pt x="176" y="408"/>
                    </a:cubicBezTo>
                    <a:cubicBezTo>
                      <a:pt x="170" y="373"/>
                      <a:pt x="170" y="373"/>
                      <a:pt x="170" y="373"/>
                    </a:cubicBezTo>
                    <a:lnTo>
                      <a:pt x="163" y="406"/>
                    </a:lnTo>
                    <a:close/>
                    <a:moveTo>
                      <a:pt x="75" y="404"/>
                    </a:moveTo>
                    <a:cubicBezTo>
                      <a:pt x="78" y="406"/>
                      <a:pt x="78" y="406"/>
                      <a:pt x="78" y="406"/>
                    </a:cubicBezTo>
                    <a:cubicBezTo>
                      <a:pt x="86" y="396"/>
                      <a:pt x="86" y="396"/>
                      <a:pt x="86" y="396"/>
                    </a:cubicBezTo>
                    <a:cubicBezTo>
                      <a:pt x="84" y="392"/>
                      <a:pt x="84" y="392"/>
                      <a:pt x="84" y="392"/>
                    </a:cubicBezTo>
                    <a:cubicBezTo>
                      <a:pt x="72" y="390"/>
                      <a:pt x="72" y="390"/>
                      <a:pt x="72" y="390"/>
                    </a:cubicBezTo>
                    <a:lnTo>
                      <a:pt x="75" y="404"/>
                    </a:lnTo>
                    <a:close/>
                    <a:moveTo>
                      <a:pt x="151" y="403"/>
                    </a:moveTo>
                    <a:cubicBezTo>
                      <a:pt x="161" y="405"/>
                      <a:pt x="161" y="405"/>
                      <a:pt x="161" y="405"/>
                    </a:cubicBezTo>
                    <a:cubicBezTo>
                      <a:pt x="168" y="374"/>
                      <a:pt x="168" y="374"/>
                      <a:pt x="168" y="374"/>
                    </a:cubicBezTo>
                    <a:lnTo>
                      <a:pt x="151" y="403"/>
                    </a:lnTo>
                    <a:close/>
                    <a:moveTo>
                      <a:pt x="214" y="395"/>
                    </a:moveTo>
                    <a:cubicBezTo>
                      <a:pt x="229" y="404"/>
                      <a:pt x="229" y="404"/>
                      <a:pt x="229" y="404"/>
                    </a:cubicBezTo>
                    <a:cubicBezTo>
                      <a:pt x="247" y="366"/>
                      <a:pt x="247" y="366"/>
                      <a:pt x="247" y="366"/>
                    </a:cubicBezTo>
                    <a:lnTo>
                      <a:pt x="214" y="395"/>
                    </a:lnTo>
                    <a:close/>
                    <a:moveTo>
                      <a:pt x="15" y="379"/>
                    </a:moveTo>
                    <a:cubicBezTo>
                      <a:pt x="73" y="404"/>
                      <a:pt x="73" y="404"/>
                      <a:pt x="73" y="404"/>
                    </a:cubicBezTo>
                    <a:cubicBezTo>
                      <a:pt x="71" y="390"/>
                      <a:pt x="71" y="390"/>
                      <a:pt x="71" y="390"/>
                    </a:cubicBezTo>
                    <a:lnTo>
                      <a:pt x="15" y="379"/>
                    </a:lnTo>
                    <a:close/>
                    <a:moveTo>
                      <a:pt x="127" y="399"/>
                    </a:moveTo>
                    <a:cubicBezTo>
                      <a:pt x="149" y="403"/>
                      <a:pt x="149" y="403"/>
                      <a:pt x="149" y="403"/>
                    </a:cubicBezTo>
                    <a:cubicBezTo>
                      <a:pt x="167" y="372"/>
                      <a:pt x="167" y="372"/>
                      <a:pt x="167" y="372"/>
                    </a:cubicBezTo>
                    <a:lnTo>
                      <a:pt x="127" y="399"/>
                    </a:lnTo>
                    <a:close/>
                    <a:moveTo>
                      <a:pt x="91" y="392"/>
                    </a:moveTo>
                    <a:cubicBezTo>
                      <a:pt x="125" y="398"/>
                      <a:pt x="125" y="398"/>
                      <a:pt x="125" y="398"/>
                    </a:cubicBezTo>
                    <a:cubicBezTo>
                      <a:pt x="167" y="370"/>
                      <a:pt x="167" y="370"/>
                      <a:pt x="167" y="370"/>
                    </a:cubicBezTo>
                    <a:cubicBezTo>
                      <a:pt x="112" y="367"/>
                      <a:pt x="112" y="367"/>
                      <a:pt x="112" y="367"/>
                    </a:cubicBezTo>
                    <a:lnTo>
                      <a:pt x="91" y="392"/>
                    </a:lnTo>
                    <a:close/>
                    <a:moveTo>
                      <a:pt x="86" y="393"/>
                    </a:moveTo>
                    <a:cubicBezTo>
                      <a:pt x="87" y="395"/>
                      <a:pt x="87" y="395"/>
                      <a:pt x="87" y="395"/>
                    </a:cubicBezTo>
                    <a:cubicBezTo>
                      <a:pt x="89" y="393"/>
                      <a:pt x="89" y="393"/>
                      <a:pt x="89" y="393"/>
                    </a:cubicBezTo>
                    <a:lnTo>
                      <a:pt x="86" y="393"/>
                    </a:lnTo>
                    <a:close/>
                    <a:moveTo>
                      <a:pt x="172" y="370"/>
                    </a:moveTo>
                    <a:cubicBezTo>
                      <a:pt x="213" y="394"/>
                      <a:pt x="213" y="394"/>
                      <a:pt x="213" y="394"/>
                    </a:cubicBezTo>
                    <a:cubicBezTo>
                      <a:pt x="247" y="364"/>
                      <a:pt x="247" y="364"/>
                      <a:pt x="247" y="364"/>
                    </a:cubicBezTo>
                    <a:lnTo>
                      <a:pt x="172" y="370"/>
                    </a:lnTo>
                    <a:close/>
                    <a:moveTo>
                      <a:pt x="85" y="391"/>
                    </a:moveTo>
                    <a:cubicBezTo>
                      <a:pt x="90" y="392"/>
                      <a:pt x="90" y="392"/>
                      <a:pt x="90" y="392"/>
                    </a:cubicBezTo>
                    <a:cubicBezTo>
                      <a:pt x="110" y="367"/>
                      <a:pt x="110" y="367"/>
                      <a:pt x="110" y="367"/>
                    </a:cubicBezTo>
                    <a:cubicBezTo>
                      <a:pt x="68" y="365"/>
                      <a:pt x="68" y="365"/>
                      <a:pt x="68" y="365"/>
                    </a:cubicBezTo>
                    <a:lnTo>
                      <a:pt x="85" y="391"/>
                    </a:lnTo>
                    <a:close/>
                    <a:moveTo>
                      <a:pt x="72" y="389"/>
                    </a:moveTo>
                    <a:cubicBezTo>
                      <a:pt x="83" y="391"/>
                      <a:pt x="83" y="391"/>
                      <a:pt x="83" y="391"/>
                    </a:cubicBezTo>
                    <a:cubicBezTo>
                      <a:pt x="68" y="368"/>
                      <a:pt x="68" y="368"/>
                      <a:pt x="68" y="368"/>
                    </a:cubicBezTo>
                    <a:lnTo>
                      <a:pt x="72" y="389"/>
                    </a:lnTo>
                    <a:close/>
                    <a:moveTo>
                      <a:pt x="12" y="377"/>
                    </a:moveTo>
                    <a:cubicBezTo>
                      <a:pt x="70" y="388"/>
                      <a:pt x="70" y="388"/>
                      <a:pt x="70" y="388"/>
                    </a:cubicBezTo>
                    <a:cubicBezTo>
                      <a:pt x="66" y="365"/>
                      <a:pt x="66" y="365"/>
                      <a:pt x="66" y="365"/>
                    </a:cubicBezTo>
                    <a:lnTo>
                      <a:pt x="12" y="377"/>
                    </a:lnTo>
                    <a:close/>
                    <a:moveTo>
                      <a:pt x="48" y="352"/>
                    </a:moveTo>
                    <a:cubicBezTo>
                      <a:pt x="12" y="376"/>
                      <a:pt x="12" y="376"/>
                      <a:pt x="12" y="376"/>
                    </a:cubicBezTo>
                    <a:cubicBezTo>
                      <a:pt x="65" y="364"/>
                      <a:pt x="65" y="364"/>
                      <a:pt x="65" y="364"/>
                    </a:cubicBezTo>
                    <a:lnTo>
                      <a:pt x="48" y="352"/>
                    </a:lnTo>
                    <a:close/>
                    <a:moveTo>
                      <a:pt x="114" y="366"/>
                    </a:moveTo>
                    <a:cubicBezTo>
                      <a:pt x="168" y="368"/>
                      <a:pt x="168" y="368"/>
                      <a:pt x="168" y="368"/>
                    </a:cubicBezTo>
                    <a:cubicBezTo>
                      <a:pt x="137" y="338"/>
                      <a:pt x="137" y="338"/>
                      <a:pt x="137" y="338"/>
                    </a:cubicBezTo>
                    <a:lnTo>
                      <a:pt x="114" y="366"/>
                    </a:lnTo>
                    <a:close/>
                    <a:moveTo>
                      <a:pt x="219" y="335"/>
                    </a:moveTo>
                    <a:cubicBezTo>
                      <a:pt x="172" y="368"/>
                      <a:pt x="172" y="368"/>
                      <a:pt x="172" y="368"/>
                    </a:cubicBezTo>
                    <a:cubicBezTo>
                      <a:pt x="247" y="363"/>
                      <a:pt x="247" y="363"/>
                      <a:pt x="247" y="363"/>
                    </a:cubicBezTo>
                    <a:lnTo>
                      <a:pt x="219" y="335"/>
                    </a:lnTo>
                    <a:close/>
                    <a:moveTo>
                      <a:pt x="138" y="337"/>
                    </a:moveTo>
                    <a:cubicBezTo>
                      <a:pt x="169" y="367"/>
                      <a:pt x="169" y="367"/>
                      <a:pt x="169" y="367"/>
                    </a:cubicBezTo>
                    <a:cubicBezTo>
                      <a:pt x="166" y="313"/>
                      <a:pt x="166" y="313"/>
                      <a:pt x="166" y="313"/>
                    </a:cubicBezTo>
                    <a:cubicBezTo>
                      <a:pt x="157" y="314"/>
                      <a:pt x="157" y="314"/>
                      <a:pt x="157" y="314"/>
                    </a:cubicBezTo>
                    <a:lnTo>
                      <a:pt x="138" y="337"/>
                    </a:lnTo>
                    <a:close/>
                    <a:moveTo>
                      <a:pt x="193" y="312"/>
                    </a:moveTo>
                    <a:cubicBezTo>
                      <a:pt x="171" y="367"/>
                      <a:pt x="171" y="367"/>
                      <a:pt x="171" y="367"/>
                    </a:cubicBezTo>
                    <a:cubicBezTo>
                      <a:pt x="218" y="334"/>
                      <a:pt x="218" y="334"/>
                      <a:pt x="218" y="334"/>
                    </a:cubicBezTo>
                    <a:cubicBezTo>
                      <a:pt x="196" y="312"/>
                      <a:pt x="196" y="312"/>
                      <a:pt x="196" y="312"/>
                    </a:cubicBezTo>
                    <a:lnTo>
                      <a:pt x="193" y="312"/>
                    </a:lnTo>
                    <a:close/>
                    <a:moveTo>
                      <a:pt x="168" y="313"/>
                    </a:moveTo>
                    <a:cubicBezTo>
                      <a:pt x="170" y="366"/>
                      <a:pt x="170" y="366"/>
                      <a:pt x="170" y="366"/>
                    </a:cubicBezTo>
                    <a:cubicBezTo>
                      <a:pt x="191" y="312"/>
                      <a:pt x="191" y="312"/>
                      <a:pt x="191" y="312"/>
                    </a:cubicBezTo>
                    <a:lnTo>
                      <a:pt x="168" y="313"/>
                    </a:lnTo>
                    <a:close/>
                    <a:moveTo>
                      <a:pt x="68" y="364"/>
                    </a:moveTo>
                    <a:cubicBezTo>
                      <a:pt x="112" y="366"/>
                      <a:pt x="112" y="366"/>
                      <a:pt x="112" y="366"/>
                    </a:cubicBezTo>
                    <a:cubicBezTo>
                      <a:pt x="136" y="337"/>
                      <a:pt x="136" y="337"/>
                      <a:pt x="136" y="337"/>
                    </a:cubicBezTo>
                    <a:cubicBezTo>
                      <a:pt x="115" y="315"/>
                      <a:pt x="115" y="315"/>
                      <a:pt x="115" y="315"/>
                    </a:cubicBezTo>
                    <a:cubicBezTo>
                      <a:pt x="103" y="316"/>
                      <a:pt x="103" y="316"/>
                      <a:pt x="103" y="316"/>
                    </a:cubicBezTo>
                    <a:cubicBezTo>
                      <a:pt x="78" y="332"/>
                      <a:pt x="78" y="332"/>
                      <a:pt x="78" y="332"/>
                    </a:cubicBezTo>
                    <a:lnTo>
                      <a:pt x="68" y="364"/>
                    </a:lnTo>
                    <a:close/>
                    <a:moveTo>
                      <a:pt x="49" y="351"/>
                    </a:moveTo>
                    <a:cubicBezTo>
                      <a:pt x="66" y="363"/>
                      <a:pt x="66" y="363"/>
                      <a:pt x="66" y="363"/>
                    </a:cubicBezTo>
                    <a:cubicBezTo>
                      <a:pt x="76" y="333"/>
                      <a:pt x="76" y="333"/>
                      <a:pt x="76" y="333"/>
                    </a:cubicBezTo>
                    <a:lnTo>
                      <a:pt x="49" y="351"/>
                    </a:lnTo>
                    <a:close/>
                    <a:moveTo>
                      <a:pt x="220" y="334"/>
                    </a:moveTo>
                    <a:cubicBezTo>
                      <a:pt x="248" y="362"/>
                      <a:pt x="248" y="362"/>
                      <a:pt x="248" y="362"/>
                    </a:cubicBezTo>
                    <a:cubicBezTo>
                      <a:pt x="252" y="311"/>
                      <a:pt x="252" y="311"/>
                      <a:pt x="252" y="311"/>
                    </a:cubicBezTo>
                    <a:lnTo>
                      <a:pt x="220" y="334"/>
                    </a:lnTo>
                    <a:close/>
                    <a:moveTo>
                      <a:pt x="3" y="319"/>
                    </a:moveTo>
                    <a:cubicBezTo>
                      <a:pt x="48" y="350"/>
                      <a:pt x="48" y="350"/>
                      <a:pt x="48" y="350"/>
                    </a:cubicBezTo>
                    <a:cubicBezTo>
                      <a:pt x="77" y="331"/>
                      <a:pt x="77" y="331"/>
                      <a:pt x="77" y="331"/>
                    </a:cubicBezTo>
                    <a:cubicBezTo>
                      <a:pt x="82" y="316"/>
                      <a:pt x="82" y="316"/>
                      <a:pt x="82" y="316"/>
                    </a:cubicBezTo>
                    <a:lnTo>
                      <a:pt x="3" y="319"/>
                    </a:lnTo>
                    <a:close/>
                    <a:moveTo>
                      <a:pt x="117" y="315"/>
                    </a:moveTo>
                    <a:cubicBezTo>
                      <a:pt x="137" y="336"/>
                      <a:pt x="137" y="336"/>
                      <a:pt x="137" y="336"/>
                    </a:cubicBezTo>
                    <a:cubicBezTo>
                      <a:pt x="155" y="314"/>
                      <a:pt x="155" y="314"/>
                      <a:pt x="155" y="314"/>
                    </a:cubicBezTo>
                    <a:lnTo>
                      <a:pt x="117" y="315"/>
                    </a:lnTo>
                    <a:close/>
                    <a:moveTo>
                      <a:pt x="198" y="312"/>
                    </a:moveTo>
                    <a:cubicBezTo>
                      <a:pt x="219" y="333"/>
                      <a:pt x="219" y="333"/>
                      <a:pt x="219" y="333"/>
                    </a:cubicBezTo>
                    <a:cubicBezTo>
                      <a:pt x="251" y="310"/>
                      <a:pt x="251" y="310"/>
                      <a:pt x="251" y="310"/>
                    </a:cubicBezTo>
                    <a:lnTo>
                      <a:pt x="198" y="312"/>
                    </a:lnTo>
                    <a:close/>
                    <a:moveTo>
                      <a:pt x="84" y="316"/>
                    </a:moveTo>
                    <a:cubicBezTo>
                      <a:pt x="79" y="329"/>
                      <a:pt x="79" y="329"/>
                      <a:pt x="79" y="329"/>
                    </a:cubicBezTo>
                    <a:cubicBezTo>
                      <a:pt x="100" y="316"/>
                      <a:pt x="100" y="316"/>
                      <a:pt x="100" y="316"/>
                    </a:cubicBezTo>
                    <a:lnTo>
                      <a:pt x="84" y="316"/>
                    </a:lnTo>
                    <a:close/>
                    <a:moveTo>
                      <a:pt x="85" y="285"/>
                    </a:moveTo>
                    <a:cubicBezTo>
                      <a:pt x="27" y="307"/>
                      <a:pt x="8" y="315"/>
                      <a:pt x="3" y="318"/>
                    </a:cubicBezTo>
                    <a:cubicBezTo>
                      <a:pt x="82" y="315"/>
                      <a:pt x="82" y="315"/>
                      <a:pt x="82" y="315"/>
                    </a:cubicBezTo>
                    <a:cubicBezTo>
                      <a:pt x="91" y="291"/>
                      <a:pt x="91" y="291"/>
                      <a:pt x="91" y="291"/>
                    </a:cubicBezTo>
                    <a:lnTo>
                      <a:pt x="85" y="285"/>
                    </a:lnTo>
                    <a:close/>
                    <a:moveTo>
                      <a:pt x="26" y="226"/>
                    </a:moveTo>
                    <a:cubicBezTo>
                      <a:pt x="23" y="236"/>
                      <a:pt x="6" y="302"/>
                      <a:pt x="3" y="317"/>
                    </a:cubicBezTo>
                    <a:cubicBezTo>
                      <a:pt x="7" y="314"/>
                      <a:pt x="23" y="307"/>
                      <a:pt x="84" y="284"/>
                    </a:cubicBezTo>
                    <a:lnTo>
                      <a:pt x="26" y="226"/>
                    </a:lnTo>
                    <a:close/>
                    <a:moveTo>
                      <a:pt x="92" y="292"/>
                    </a:moveTo>
                    <a:cubicBezTo>
                      <a:pt x="84" y="315"/>
                      <a:pt x="84" y="315"/>
                      <a:pt x="84" y="315"/>
                    </a:cubicBezTo>
                    <a:cubicBezTo>
                      <a:pt x="102" y="314"/>
                      <a:pt x="102" y="314"/>
                      <a:pt x="102" y="314"/>
                    </a:cubicBezTo>
                    <a:cubicBezTo>
                      <a:pt x="109" y="310"/>
                      <a:pt x="109" y="310"/>
                      <a:pt x="109" y="310"/>
                    </a:cubicBezTo>
                    <a:lnTo>
                      <a:pt x="92" y="292"/>
                    </a:lnTo>
                    <a:close/>
                    <a:moveTo>
                      <a:pt x="110" y="311"/>
                    </a:moveTo>
                    <a:cubicBezTo>
                      <a:pt x="105" y="314"/>
                      <a:pt x="105" y="314"/>
                      <a:pt x="105" y="314"/>
                    </a:cubicBezTo>
                    <a:cubicBezTo>
                      <a:pt x="113" y="314"/>
                      <a:pt x="113" y="314"/>
                      <a:pt x="113" y="314"/>
                    </a:cubicBezTo>
                    <a:lnTo>
                      <a:pt x="110" y="311"/>
                    </a:lnTo>
                    <a:close/>
                    <a:moveTo>
                      <a:pt x="111" y="310"/>
                    </a:moveTo>
                    <a:cubicBezTo>
                      <a:pt x="115" y="314"/>
                      <a:pt x="115" y="314"/>
                      <a:pt x="115" y="314"/>
                    </a:cubicBezTo>
                    <a:cubicBezTo>
                      <a:pt x="157" y="312"/>
                      <a:pt x="157" y="312"/>
                      <a:pt x="157" y="312"/>
                    </a:cubicBezTo>
                    <a:cubicBezTo>
                      <a:pt x="166" y="302"/>
                      <a:pt x="166" y="302"/>
                      <a:pt x="166" y="302"/>
                    </a:cubicBezTo>
                    <a:cubicBezTo>
                      <a:pt x="164" y="281"/>
                      <a:pt x="164" y="281"/>
                      <a:pt x="164" y="281"/>
                    </a:cubicBezTo>
                    <a:cubicBezTo>
                      <a:pt x="161" y="277"/>
                      <a:pt x="161" y="277"/>
                      <a:pt x="161" y="277"/>
                    </a:cubicBezTo>
                    <a:lnTo>
                      <a:pt x="111" y="310"/>
                    </a:lnTo>
                    <a:close/>
                    <a:moveTo>
                      <a:pt x="166" y="304"/>
                    </a:moveTo>
                    <a:cubicBezTo>
                      <a:pt x="159" y="312"/>
                      <a:pt x="159" y="312"/>
                      <a:pt x="159" y="312"/>
                    </a:cubicBezTo>
                    <a:cubicBezTo>
                      <a:pt x="166" y="312"/>
                      <a:pt x="166" y="312"/>
                      <a:pt x="166" y="312"/>
                    </a:cubicBezTo>
                    <a:lnTo>
                      <a:pt x="166" y="304"/>
                    </a:lnTo>
                    <a:close/>
                    <a:moveTo>
                      <a:pt x="167" y="302"/>
                    </a:moveTo>
                    <a:cubicBezTo>
                      <a:pt x="167" y="312"/>
                      <a:pt x="167" y="312"/>
                      <a:pt x="167" y="312"/>
                    </a:cubicBezTo>
                    <a:cubicBezTo>
                      <a:pt x="192" y="311"/>
                      <a:pt x="192" y="311"/>
                      <a:pt x="192" y="311"/>
                    </a:cubicBezTo>
                    <a:cubicBezTo>
                      <a:pt x="193" y="309"/>
                      <a:pt x="193" y="309"/>
                      <a:pt x="193" y="309"/>
                    </a:cubicBezTo>
                    <a:cubicBezTo>
                      <a:pt x="176" y="292"/>
                      <a:pt x="176" y="292"/>
                      <a:pt x="176" y="292"/>
                    </a:cubicBezTo>
                    <a:lnTo>
                      <a:pt x="167" y="302"/>
                    </a:lnTo>
                    <a:close/>
                    <a:moveTo>
                      <a:pt x="194" y="308"/>
                    </a:moveTo>
                    <a:cubicBezTo>
                      <a:pt x="197" y="311"/>
                      <a:pt x="197" y="311"/>
                      <a:pt x="197" y="311"/>
                    </a:cubicBezTo>
                    <a:cubicBezTo>
                      <a:pt x="249" y="309"/>
                      <a:pt x="249" y="309"/>
                      <a:pt x="249" y="309"/>
                    </a:cubicBezTo>
                    <a:cubicBezTo>
                      <a:pt x="201" y="291"/>
                      <a:pt x="201" y="291"/>
                      <a:pt x="201" y="291"/>
                    </a:cubicBezTo>
                    <a:lnTo>
                      <a:pt x="194" y="308"/>
                    </a:lnTo>
                    <a:close/>
                    <a:moveTo>
                      <a:pt x="92" y="291"/>
                    </a:moveTo>
                    <a:cubicBezTo>
                      <a:pt x="110" y="309"/>
                      <a:pt x="110" y="309"/>
                      <a:pt x="110" y="309"/>
                    </a:cubicBezTo>
                    <a:cubicBezTo>
                      <a:pt x="160" y="276"/>
                      <a:pt x="160" y="276"/>
                      <a:pt x="160" y="276"/>
                    </a:cubicBezTo>
                    <a:cubicBezTo>
                      <a:pt x="158" y="275"/>
                      <a:pt x="158" y="275"/>
                      <a:pt x="158" y="275"/>
                    </a:cubicBezTo>
                    <a:cubicBezTo>
                      <a:pt x="136" y="267"/>
                      <a:pt x="136" y="267"/>
                      <a:pt x="136" y="267"/>
                    </a:cubicBezTo>
                    <a:cubicBezTo>
                      <a:pt x="122" y="272"/>
                      <a:pt x="108" y="277"/>
                      <a:pt x="95" y="281"/>
                    </a:cubicBezTo>
                    <a:lnTo>
                      <a:pt x="92" y="291"/>
                    </a:lnTo>
                    <a:close/>
                    <a:moveTo>
                      <a:pt x="177" y="291"/>
                    </a:moveTo>
                    <a:cubicBezTo>
                      <a:pt x="193" y="307"/>
                      <a:pt x="193" y="307"/>
                      <a:pt x="193" y="307"/>
                    </a:cubicBezTo>
                    <a:cubicBezTo>
                      <a:pt x="200" y="290"/>
                      <a:pt x="200" y="290"/>
                      <a:pt x="200" y="290"/>
                    </a:cubicBezTo>
                    <a:cubicBezTo>
                      <a:pt x="182" y="284"/>
                      <a:pt x="182" y="284"/>
                      <a:pt x="182" y="284"/>
                    </a:cubicBezTo>
                    <a:lnTo>
                      <a:pt x="177" y="291"/>
                    </a:lnTo>
                    <a:close/>
                    <a:moveTo>
                      <a:pt x="166" y="282"/>
                    </a:moveTo>
                    <a:cubicBezTo>
                      <a:pt x="167" y="300"/>
                      <a:pt x="167" y="300"/>
                      <a:pt x="167" y="300"/>
                    </a:cubicBezTo>
                    <a:cubicBezTo>
                      <a:pt x="175" y="291"/>
                      <a:pt x="175" y="291"/>
                      <a:pt x="175" y="291"/>
                    </a:cubicBezTo>
                    <a:lnTo>
                      <a:pt x="166" y="282"/>
                    </a:lnTo>
                    <a:close/>
                    <a:moveTo>
                      <a:pt x="166" y="280"/>
                    </a:moveTo>
                    <a:cubicBezTo>
                      <a:pt x="176" y="290"/>
                      <a:pt x="176" y="290"/>
                      <a:pt x="176" y="290"/>
                    </a:cubicBezTo>
                    <a:cubicBezTo>
                      <a:pt x="181" y="283"/>
                      <a:pt x="181" y="283"/>
                      <a:pt x="181" y="283"/>
                    </a:cubicBezTo>
                    <a:cubicBezTo>
                      <a:pt x="166" y="278"/>
                      <a:pt x="166" y="278"/>
                      <a:pt x="166" y="278"/>
                    </a:cubicBezTo>
                    <a:lnTo>
                      <a:pt x="166" y="280"/>
                    </a:lnTo>
                    <a:close/>
                    <a:moveTo>
                      <a:pt x="86" y="285"/>
                    </a:moveTo>
                    <a:cubicBezTo>
                      <a:pt x="91" y="289"/>
                      <a:pt x="91" y="289"/>
                      <a:pt x="91" y="289"/>
                    </a:cubicBezTo>
                    <a:cubicBezTo>
                      <a:pt x="94" y="282"/>
                      <a:pt x="94" y="282"/>
                      <a:pt x="94" y="282"/>
                    </a:cubicBezTo>
                    <a:cubicBezTo>
                      <a:pt x="91" y="283"/>
                      <a:pt x="89" y="284"/>
                      <a:pt x="86" y="285"/>
                    </a:cubicBezTo>
                    <a:close/>
                    <a:moveTo>
                      <a:pt x="184" y="283"/>
                    </a:moveTo>
                    <a:cubicBezTo>
                      <a:pt x="200" y="289"/>
                      <a:pt x="200" y="289"/>
                      <a:pt x="200" y="289"/>
                    </a:cubicBezTo>
                    <a:cubicBezTo>
                      <a:pt x="213" y="258"/>
                      <a:pt x="213" y="258"/>
                      <a:pt x="213" y="258"/>
                    </a:cubicBezTo>
                    <a:cubicBezTo>
                      <a:pt x="205" y="257"/>
                      <a:pt x="205" y="257"/>
                      <a:pt x="205" y="257"/>
                    </a:cubicBezTo>
                    <a:lnTo>
                      <a:pt x="184" y="283"/>
                    </a:lnTo>
                    <a:close/>
                    <a:moveTo>
                      <a:pt x="28" y="226"/>
                    </a:moveTo>
                    <a:cubicBezTo>
                      <a:pt x="85" y="284"/>
                      <a:pt x="85" y="284"/>
                      <a:pt x="85" y="284"/>
                    </a:cubicBezTo>
                    <a:cubicBezTo>
                      <a:pt x="88" y="283"/>
                      <a:pt x="91" y="281"/>
                      <a:pt x="94" y="280"/>
                    </a:cubicBezTo>
                    <a:cubicBezTo>
                      <a:pt x="103" y="254"/>
                      <a:pt x="103" y="254"/>
                      <a:pt x="103" y="254"/>
                    </a:cubicBezTo>
                    <a:lnTo>
                      <a:pt x="28" y="226"/>
                    </a:lnTo>
                    <a:close/>
                    <a:moveTo>
                      <a:pt x="166" y="276"/>
                    </a:moveTo>
                    <a:cubicBezTo>
                      <a:pt x="182" y="282"/>
                      <a:pt x="182" y="282"/>
                      <a:pt x="182" y="282"/>
                    </a:cubicBezTo>
                    <a:cubicBezTo>
                      <a:pt x="204" y="256"/>
                      <a:pt x="204" y="256"/>
                      <a:pt x="204" y="256"/>
                    </a:cubicBezTo>
                    <a:cubicBezTo>
                      <a:pt x="194" y="255"/>
                      <a:pt x="194" y="255"/>
                      <a:pt x="194" y="255"/>
                    </a:cubicBezTo>
                    <a:cubicBezTo>
                      <a:pt x="166" y="274"/>
                      <a:pt x="166" y="274"/>
                      <a:pt x="166" y="274"/>
                    </a:cubicBezTo>
                    <a:lnTo>
                      <a:pt x="166" y="276"/>
                    </a:lnTo>
                    <a:close/>
                    <a:moveTo>
                      <a:pt x="104" y="255"/>
                    </a:moveTo>
                    <a:cubicBezTo>
                      <a:pt x="96" y="280"/>
                      <a:pt x="96" y="280"/>
                      <a:pt x="96" y="280"/>
                    </a:cubicBezTo>
                    <a:cubicBezTo>
                      <a:pt x="108" y="275"/>
                      <a:pt x="121" y="271"/>
                      <a:pt x="134" y="266"/>
                    </a:cubicBezTo>
                    <a:lnTo>
                      <a:pt x="104" y="255"/>
                    </a:lnTo>
                    <a:close/>
                    <a:moveTo>
                      <a:pt x="162" y="276"/>
                    </a:moveTo>
                    <a:cubicBezTo>
                      <a:pt x="164" y="279"/>
                      <a:pt x="164" y="279"/>
                      <a:pt x="164" y="279"/>
                    </a:cubicBezTo>
                    <a:cubicBezTo>
                      <a:pt x="164" y="277"/>
                      <a:pt x="164" y="277"/>
                      <a:pt x="164" y="277"/>
                    </a:cubicBezTo>
                    <a:cubicBezTo>
                      <a:pt x="162" y="276"/>
                      <a:pt x="162" y="276"/>
                      <a:pt x="162" y="276"/>
                    </a:cubicBezTo>
                    <a:close/>
                    <a:moveTo>
                      <a:pt x="159" y="274"/>
                    </a:moveTo>
                    <a:cubicBezTo>
                      <a:pt x="162" y="275"/>
                      <a:pt x="162" y="275"/>
                      <a:pt x="162" y="275"/>
                    </a:cubicBezTo>
                    <a:cubicBezTo>
                      <a:pt x="164" y="273"/>
                      <a:pt x="164" y="273"/>
                      <a:pt x="164" y="273"/>
                    </a:cubicBezTo>
                    <a:cubicBezTo>
                      <a:pt x="163" y="257"/>
                      <a:pt x="163" y="257"/>
                      <a:pt x="163" y="257"/>
                    </a:cubicBezTo>
                    <a:cubicBezTo>
                      <a:pt x="158" y="259"/>
                      <a:pt x="153" y="261"/>
                      <a:pt x="148" y="262"/>
                    </a:cubicBezTo>
                    <a:lnTo>
                      <a:pt x="159" y="274"/>
                    </a:lnTo>
                    <a:close/>
                    <a:moveTo>
                      <a:pt x="138" y="266"/>
                    </a:moveTo>
                    <a:cubicBezTo>
                      <a:pt x="156" y="272"/>
                      <a:pt x="156" y="272"/>
                      <a:pt x="156" y="272"/>
                    </a:cubicBezTo>
                    <a:cubicBezTo>
                      <a:pt x="146" y="263"/>
                      <a:pt x="146" y="263"/>
                      <a:pt x="146" y="263"/>
                    </a:cubicBezTo>
                    <a:lnTo>
                      <a:pt x="138" y="266"/>
                    </a:lnTo>
                    <a:close/>
                    <a:moveTo>
                      <a:pt x="165" y="257"/>
                    </a:moveTo>
                    <a:cubicBezTo>
                      <a:pt x="166" y="272"/>
                      <a:pt x="166" y="272"/>
                      <a:pt x="166" y="272"/>
                    </a:cubicBezTo>
                    <a:cubicBezTo>
                      <a:pt x="192" y="254"/>
                      <a:pt x="192" y="254"/>
                      <a:pt x="192" y="254"/>
                    </a:cubicBezTo>
                    <a:cubicBezTo>
                      <a:pt x="178" y="252"/>
                      <a:pt x="178" y="252"/>
                      <a:pt x="178" y="252"/>
                    </a:cubicBezTo>
                    <a:cubicBezTo>
                      <a:pt x="174" y="253"/>
                      <a:pt x="169" y="255"/>
                      <a:pt x="165" y="257"/>
                    </a:cubicBezTo>
                    <a:close/>
                    <a:moveTo>
                      <a:pt x="105" y="253"/>
                    </a:moveTo>
                    <a:cubicBezTo>
                      <a:pt x="136" y="265"/>
                      <a:pt x="136" y="265"/>
                      <a:pt x="136" y="265"/>
                    </a:cubicBezTo>
                    <a:cubicBezTo>
                      <a:pt x="145" y="262"/>
                      <a:pt x="145" y="262"/>
                      <a:pt x="145" y="262"/>
                    </a:cubicBezTo>
                    <a:cubicBezTo>
                      <a:pt x="126" y="243"/>
                      <a:pt x="126" y="243"/>
                      <a:pt x="126" y="243"/>
                    </a:cubicBezTo>
                    <a:cubicBezTo>
                      <a:pt x="109" y="240"/>
                      <a:pt x="109" y="240"/>
                      <a:pt x="109" y="240"/>
                    </a:cubicBezTo>
                    <a:lnTo>
                      <a:pt x="105" y="253"/>
                    </a:lnTo>
                    <a:close/>
                    <a:moveTo>
                      <a:pt x="215" y="257"/>
                    </a:moveTo>
                    <a:cubicBezTo>
                      <a:pt x="248" y="263"/>
                      <a:pt x="248" y="263"/>
                      <a:pt x="248" y="263"/>
                    </a:cubicBezTo>
                    <a:cubicBezTo>
                      <a:pt x="222" y="237"/>
                      <a:pt x="222" y="237"/>
                      <a:pt x="222" y="237"/>
                    </a:cubicBezTo>
                    <a:lnTo>
                      <a:pt x="215" y="257"/>
                    </a:lnTo>
                    <a:close/>
                    <a:moveTo>
                      <a:pt x="129" y="243"/>
                    </a:moveTo>
                    <a:cubicBezTo>
                      <a:pt x="147" y="261"/>
                      <a:pt x="147" y="261"/>
                      <a:pt x="147" y="261"/>
                    </a:cubicBezTo>
                    <a:cubicBezTo>
                      <a:pt x="152" y="259"/>
                      <a:pt x="158" y="257"/>
                      <a:pt x="163" y="255"/>
                    </a:cubicBezTo>
                    <a:cubicBezTo>
                      <a:pt x="163" y="249"/>
                      <a:pt x="163" y="249"/>
                      <a:pt x="163" y="249"/>
                    </a:cubicBezTo>
                    <a:lnTo>
                      <a:pt x="129" y="243"/>
                    </a:lnTo>
                    <a:close/>
                    <a:moveTo>
                      <a:pt x="206" y="255"/>
                    </a:moveTo>
                    <a:cubicBezTo>
                      <a:pt x="213" y="257"/>
                      <a:pt x="213" y="257"/>
                      <a:pt x="213" y="257"/>
                    </a:cubicBezTo>
                    <a:cubicBezTo>
                      <a:pt x="220" y="239"/>
                      <a:pt x="220" y="239"/>
                      <a:pt x="220" y="239"/>
                    </a:cubicBezTo>
                    <a:lnTo>
                      <a:pt x="206" y="255"/>
                    </a:lnTo>
                    <a:close/>
                    <a:moveTo>
                      <a:pt x="196" y="254"/>
                    </a:moveTo>
                    <a:cubicBezTo>
                      <a:pt x="205" y="255"/>
                      <a:pt x="205" y="255"/>
                      <a:pt x="205" y="255"/>
                    </a:cubicBezTo>
                    <a:cubicBezTo>
                      <a:pt x="218" y="239"/>
                      <a:pt x="218" y="239"/>
                      <a:pt x="218" y="239"/>
                    </a:cubicBezTo>
                    <a:lnTo>
                      <a:pt x="196" y="254"/>
                    </a:lnTo>
                    <a:close/>
                    <a:moveTo>
                      <a:pt x="164" y="250"/>
                    </a:moveTo>
                    <a:cubicBezTo>
                      <a:pt x="165" y="255"/>
                      <a:pt x="165" y="255"/>
                      <a:pt x="165" y="255"/>
                    </a:cubicBezTo>
                    <a:cubicBezTo>
                      <a:pt x="168" y="254"/>
                      <a:pt x="171" y="253"/>
                      <a:pt x="175" y="251"/>
                    </a:cubicBezTo>
                    <a:lnTo>
                      <a:pt x="164" y="250"/>
                    </a:lnTo>
                    <a:close/>
                    <a:moveTo>
                      <a:pt x="181" y="251"/>
                    </a:moveTo>
                    <a:cubicBezTo>
                      <a:pt x="194" y="253"/>
                      <a:pt x="194" y="253"/>
                      <a:pt x="194" y="253"/>
                    </a:cubicBezTo>
                    <a:cubicBezTo>
                      <a:pt x="217" y="238"/>
                      <a:pt x="217" y="238"/>
                      <a:pt x="217" y="238"/>
                    </a:cubicBezTo>
                    <a:cubicBezTo>
                      <a:pt x="210" y="241"/>
                      <a:pt x="197" y="245"/>
                      <a:pt x="181" y="251"/>
                    </a:cubicBezTo>
                    <a:close/>
                    <a:moveTo>
                      <a:pt x="33" y="227"/>
                    </a:moveTo>
                    <a:cubicBezTo>
                      <a:pt x="103" y="253"/>
                      <a:pt x="103" y="253"/>
                      <a:pt x="103" y="253"/>
                    </a:cubicBezTo>
                    <a:cubicBezTo>
                      <a:pt x="108" y="240"/>
                      <a:pt x="108" y="240"/>
                      <a:pt x="108" y="240"/>
                    </a:cubicBezTo>
                    <a:lnTo>
                      <a:pt x="33" y="227"/>
                    </a:lnTo>
                    <a:close/>
                    <a:moveTo>
                      <a:pt x="164" y="248"/>
                    </a:moveTo>
                    <a:cubicBezTo>
                      <a:pt x="178" y="250"/>
                      <a:pt x="178" y="250"/>
                      <a:pt x="178" y="250"/>
                    </a:cubicBezTo>
                    <a:cubicBezTo>
                      <a:pt x="197" y="244"/>
                      <a:pt x="212" y="238"/>
                      <a:pt x="218" y="236"/>
                    </a:cubicBezTo>
                    <a:cubicBezTo>
                      <a:pt x="164" y="233"/>
                      <a:pt x="164" y="233"/>
                      <a:pt x="164" y="233"/>
                    </a:cubicBezTo>
                    <a:lnTo>
                      <a:pt x="164" y="248"/>
                    </a:lnTo>
                    <a:close/>
                    <a:moveTo>
                      <a:pt x="127" y="242"/>
                    </a:moveTo>
                    <a:cubicBezTo>
                      <a:pt x="163" y="248"/>
                      <a:pt x="163" y="248"/>
                      <a:pt x="163" y="248"/>
                    </a:cubicBezTo>
                    <a:cubicBezTo>
                      <a:pt x="162" y="233"/>
                      <a:pt x="162" y="233"/>
                      <a:pt x="162" y="233"/>
                    </a:cubicBezTo>
                    <a:cubicBezTo>
                      <a:pt x="116" y="230"/>
                      <a:pt x="116" y="230"/>
                      <a:pt x="116" y="230"/>
                    </a:cubicBezTo>
                    <a:lnTo>
                      <a:pt x="127" y="242"/>
                    </a:lnTo>
                    <a:close/>
                    <a:moveTo>
                      <a:pt x="110" y="239"/>
                    </a:moveTo>
                    <a:cubicBezTo>
                      <a:pt x="124" y="241"/>
                      <a:pt x="124" y="241"/>
                      <a:pt x="124" y="241"/>
                    </a:cubicBezTo>
                    <a:cubicBezTo>
                      <a:pt x="113" y="230"/>
                      <a:pt x="113" y="230"/>
                      <a:pt x="113" y="230"/>
                    </a:cubicBezTo>
                    <a:cubicBezTo>
                      <a:pt x="113" y="230"/>
                      <a:pt x="113" y="230"/>
                      <a:pt x="113" y="230"/>
                    </a:cubicBezTo>
                    <a:lnTo>
                      <a:pt x="110" y="239"/>
                    </a:lnTo>
                    <a:close/>
                    <a:moveTo>
                      <a:pt x="38" y="226"/>
                    </a:moveTo>
                    <a:cubicBezTo>
                      <a:pt x="108" y="238"/>
                      <a:pt x="108" y="238"/>
                      <a:pt x="108" y="238"/>
                    </a:cubicBezTo>
                    <a:cubicBezTo>
                      <a:pt x="111" y="230"/>
                      <a:pt x="111" y="230"/>
                      <a:pt x="111" y="230"/>
                    </a:cubicBezTo>
                    <a:lnTo>
                      <a:pt x="38" y="226"/>
                    </a:lnTo>
                    <a:close/>
                    <a:moveTo>
                      <a:pt x="164" y="231"/>
                    </a:moveTo>
                    <a:cubicBezTo>
                      <a:pt x="218" y="235"/>
                      <a:pt x="218" y="235"/>
                      <a:pt x="218" y="235"/>
                    </a:cubicBezTo>
                    <a:cubicBezTo>
                      <a:pt x="162" y="208"/>
                      <a:pt x="162" y="208"/>
                      <a:pt x="162" y="208"/>
                    </a:cubicBezTo>
                    <a:lnTo>
                      <a:pt x="164" y="231"/>
                    </a:lnTo>
                    <a:close/>
                    <a:moveTo>
                      <a:pt x="162" y="206"/>
                    </a:moveTo>
                    <a:cubicBezTo>
                      <a:pt x="219" y="233"/>
                      <a:pt x="219" y="233"/>
                      <a:pt x="219" y="233"/>
                    </a:cubicBezTo>
                    <a:cubicBezTo>
                      <a:pt x="169" y="173"/>
                      <a:pt x="169" y="173"/>
                      <a:pt x="169" y="173"/>
                    </a:cubicBezTo>
                    <a:cubicBezTo>
                      <a:pt x="161" y="176"/>
                      <a:pt x="161" y="176"/>
                      <a:pt x="161" y="176"/>
                    </a:cubicBezTo>
                    <a:lnTo>
                      <a:pt x="162" y="206"/>
                    </a:lnTo>
                    <a:close/>
                    <a:moveTo>
                      <a:pt x="189" y="165"/>
                    </a:moveTo>
                    <a:cubicBezTo>
                      <a:pt x="222" y="233"/>
                      <a:pt x="222" y="233"/>
                      <a:pt x="222" y="233"/>
                    </a:cubicBezTo>
                    <a:cubicBezTo>
                      <a:pt x="242" y="146"/>
                      <a:pt x="242" y="146"/>
                      <a:pt x="242" y="146"/>
                    </a:cubicBezTo>
                    <a:lnTo>
                      <a:pt x="189" y="165"/>
                    </a:lnTo>
                    <a:close/>
                    <a:moveTo>
                      <a:pt x="114" y="229"/>
                    </a:moveTo>
                    <a:cubicBezTo>
                      <a:pt x="162" y="231"/>
                      <a:pt x="162" y="231"/>
                      <a:pt x="162" y="231"/>
                    </a:cubicBezTo>
                    <a:cubicBezTo>
                      <a:pt x="161" y="207"/>
                      <a:pt x="161" y="207"/>
                      <a:pt x="161" y="207"/>
                    </a:cubicBezTo>
                    <a:cubicBezTo>
                      <a:pt x="126" y="190"/>
                      <a:pt x="126" y="190"/>
                      <a:pt x="126" y="190"/>
                    </a:cubicBezTo>
                    <a:cubicBezTo>
                      <a:pt x="113" y="228"/>
                      <a:pt x="113" y="228"/>
                      <a:pt x="113" y="228"/>
                    </a:cubicBezTo>
                    <a:lnTo>
                      <a:pt x="114" y="229"/>
                    </a:lnTo>
                    <a:close/>
                    <a:moveTo>
                      <a:pt x="171" y="172"/>
                    </a:moveTo>
                    <a:cubicBezTo>
                      <a:pt x="219" y="230"/>
                      <a:pt x="219" y="230"/>
                      <a:pt x="219" y="230"/>
                    </a:cubicBezTo>
                    <a:cubicBezTo>
                      <a:pt x="188" y="166"/>
                      <a:pt x="188" y="166"/>
                      <a:pt x="188" y="166"/>
                    </a:cubicBezTo>
                    <a:lnTo>
                      <a:pt x="171" y="172"/>
                    </a:lnTo>
                    <a:close/>
                    <a:moveTo>
                      <a:pt x="29" y="224"/>
                    </a:moveTo>
                    <a:cubicBezTo>
                      <a:pt x="112" y="229"/>
                      <a:pt x="112" y="229"/>
                      <a:pt x="112" y="229"/>
                    </a:cubicBezTo>
                    <a:cubicBezTo>
                      <a:pt x="112" y="228"/>
                      <a:pt x="112" y="228"/>
                      <a:pt x="112" y="228"/>
                    </a:cubicBezTo>
                    <a:cubicBezTo>
                      <a:pt x="86" y="203"/>
                      <a:pt x="86" y="203"/>
                      <a:pt x="86" y="203"/>
                    </a:cubicBezTo>
                    <a:lnTo>
                      <a:pt x="29" y="224"/>
                    </a:lnTo>
                    <a:close/>
                    <a:moveTo>
                      <a:pt x="88" y="202"/>
                    </a:moveTo>
                    <a:cubicBezTo>
                      <a:pt x="112" y="227"/>
                      <a:pt x="112" y="227"/>
                      <a:pt x="112" y="227"/>
                    </a:cubicBezTo>
                    <a:cubicBezTo>
                      <a:pt x="125" y="190"/>
                      <a:pt x="125" y="190"/>
                      <a:pt x="125" y="190"/>
                    </a:cubicBezTo>
                    <a:cubicBezTo>
                      <a:pt x="124" y="189"/>
                      <a:pt x="124" y="189"/>
                      <a:pt x="124" y="189"/>
                    </a:cubicBezTo>
                    <a:lnTo>
                      <a:pt x="88" y="202"/>
                    </a:lnTo>
                    <a:close/>
                    <a:moveTo>
                      <a:pt x="25" y="142"/>
                    </a:moveTo>
                    <a:cubicBezTo>
                      <a:pt x="26" y="223"/>
                      <a:pt x="26" y="223"/>
                      <a:pt x="26" y="223"/>
                    </a:cubicBezTo>
                    <a:cubicBezTo>
                      <a:pt x="67" y="184"/>
                      <a:pt x="67" y="184"/>
                      <a:pt x="67" y="184"/>
                    </a:cubicBezTo>
                    <a:lnTo>
                      <a:pt x="25" y="142"/>
                    </a:lnTo>
                    <a:close/>
                    <a:moveTo>
                      <a:pt x="68" y="185"/>
                    </a:moveTo>
                    <a:cubicBezTo>
                      <a:pt x="28" y="223"/>
                      <a:pt x="28" y="223"/>
                      <a:pt x="28" y="223"/>
                    </a:cubicBezTo>
                    <a:cubicBezTo>
                      <a:pt x="85" y="202"/>
                      <a:pt x="85" y="202"/>
                      <a:pt x="85" y="202"/>
                    </a:cubicBezTo>
                    <a:lnTo>
                      <a:pt x="68" y="185"/>
                    </a:lnTo>
                    <a:close/>
                    <a:moveTo>
                      <a:pt x="127" y="189"/>
                    </a:moveTo>
                    <a:cubicBezTo>
                      <a:pt x="161" y="205"/>
                      <a:pt x="161" y="205"/>
                      <a:pt x="161" y="205"/>
                    </a:cubicBezTo>
                    <a:cubicBezTo>
                      <a:pt x="159" y="176"/>
                      <a:pt x="159" y="176"/>
                      <a:pt x="159" y="176"/>
                    </a:cubicBezTo>
                    <a:cubicBezTo>
                      <a:pt x="127" y="188"/>
                      <a:pt x="127" y="188"/>
                      <a:pt x="127" y="188"/>
                    </a:cubicBezTo>
                    <a:lnTo>
                      <a:pt x="127" y="189"/>
                    </a:lnTo>
                    <a:close/>
                    <a:moveTo>
                      <a:pt x="69" y="184"/>
                    </a:moveTo>
                    <a:cubicBezTo>
                      <a:pt x="86" y="201"/>
                      <a:pt x="86" y="201"/>
                      <a:pt x="86" y="201"/>
                    </a:cubicBezTo>
                    <a:cubicBezTo>
                      <a:pt x="122" y="188"/>
                      <a:pt x="122" y="188"/>
                      <a:pt x="122" y="188"/>
                    </a:cubicBezTo>
                    <a:cubicBezTo>
                      <a:pt x="83" y="170"/>
                      <a:pt x="83" y="170"/>
                      <a:pt x="83" y="170"/>
                    </a:cubicBezTo>
                    <a:lnTo>
                      <a:pt x="69" y="184"/>
                    </a:lnTo>
                    <a:close/>
                    <a:moveTo>
                      <a:pt x="84" y="169"/>
                    </a:moveTo>
                    <a:cubicBezTo>
                      <a:pt x="124" y="188"/>
                      <a:pt x="124" y="188"/>
                      <a:pt x="124" y="188"/>
                    </a:cubicBezTo>
                    <a:cubicBezTo>
                      <a:pt x="126" y="187"/>
                      <a:pt x="126" y="187"/>
                      <a:pt x="126" y="187"/>
                    </a:cubicBezTo>
                    <a:cubicBezTo>
                      <a:pt x="140" y="143"/>
                      <a:pt x="140" y="143"/>
                      <a:pt x="140" y="143"/>
                    </a:cubicBezTo>
                    <a:cubicBezTo>
                      <a:pt x="111" y="143"/>
                      <a:pt x="111" y="143"/>
                      <a:pt x="111" y="143"/>
                    </a:cubicBezTo>
                    <a:lnTo>
                      <a:pt x="84" y="169"/>
                    </a:lnTo>
                    <a:close/>
                    <a:moveTo>
                      <a:pt x="142" y="144"/>
                    </a:moveTo>
                    <a:cubicBezTo>
                      <a:pt x="127" y="186"/>
                      <a:pt x="127" y="186"/>
                      <a:pt x="127" y="186"/>
                    </a:cubicBezTo>
                    <a:cubicBezTo>
                      <a:pt x="159" y="175"/>
                      <a:pt x="159" y="175"/>
                      <a:pt x="159" y="175"/>
                    </a:cubicBezTo>
                    <a:cubicBezTo>
                      <a:pt x="158" y="159"/>
                      <a:pt x="158" y="159"/>
                      <a:pt x="158" y="159"/>
                    </a:cubicBezTo>
                    <a:cubicBezTo>
                      <a:pt x="145" y="144"/>
                      <a:pt x="145" y="144"/>
                      <a:pt x="145" y="144"/>
                    </a:cubicBezTo>
                    <a:lnTo>
                      <a:pt x="142" y="144"/>
                    </a:lnTo>
                    <a:close/>
                    <a:moveTo>
                      <a:pt x="28" y="143"/>
                    </a:moveTo>
                    <a:cubicBezTo>
                      <a:pt x="68" y="183"/>
                      <a:pt x="68" y="183"/>
                      <a:pt x="68" y="183"/>
                    </a:cubicBezTo>
                    <a:cubicBezTo>
                      <a:pt x="82" y="169"/>
                      <a:pt x="82" y="169"/>
                      <a:pt x="82" y="169"/>
                    </a:cubicBezTo>
                    <a:lnTo>
                      <a:pt x="28" y="143"/>
                    </a:lnTo>
                    <a:close/>
                    <a:moveTo>
                      <a:pt x="160" y="161"/>
                    </a:moveTo>
                    <a:cubicBezTo>
                      <a:pt x="161" y="174"/>
                      <a:pt x="161" y="174"/>
                      <a:pt x="161" y="174"/>
                    </a:cubicBezTo>
                    <a:cubicBezTo>
                      <a:pt x="168" y="171"/>
                      <a:pt x="168" y="171"/>
                      <a:pt x="168" y="171"/>
                    </a:cubicBezTo>
                    <a:lnTo>
                      <a:pt x="160" y="161"/>
                    </a:lnTo>
                    <a:close/>
                    <a:moveTo>
                      <a:pt x="160" y="159"/>
                    </a:moveTo>
                    <a:cubicBezTo>
                      <a:pt x="170" y="171"/>
                      <a:pt x="170" y="171"/>
                      <a:pt x="170" y="171"/>
                    </a:cubicBezTo>
                    <a:cubicBezTo>
                      <a:pt x="187" y="164"/>
                      <a:pt x="187" y="164"/>
                      <a:pt x="187" y="164"/>
                    </a:cubicBezTo>
                    <a:cubicBezTo>
                      <a:pt x="177" y="144"/>
                      <a:pt x="177" y="144"/>
                      <a:pt x="177" y="144"/>
                    </a:cubicBezTo>
                    <a:cubicBezTo>
                      <a:pt x="159" y="144"/>
                      <a:pt x="159" y="144"/>
                      <a:pt x="159" y="144"/>
                    </a:cubicBezTo>
                    <a:lnTo>
                      <a:pt x="160" y="159"/>
                    </a:lnTo>
                    <a:close/>
                    <a:moveTo>
                      <a:pt x="27" y="141"/>
                    </a:moveTo>
                    <a:cubicBezTo>
                      <a:pt x="83" y="168"/>
                      <a:pt x="83" y="168"/>
                      <a:pt x="83" y="168"/>
                    </a:cubicBezTo>
                    <a:cubicBezTo>
                      <a:pt x="109" y="143"/>
                      <a:pt x="109" y="143"/>
                      <a:pt x="109" y="143"/>
                    </a:cubicBezTo>
                    <a:lnTo>
                      <a:pt x="27" y="141"/>
                    </a:lnTo>
                    <a:close/>
                    <a:moveTo>
                      <a:pt x="179" y="144"/>
                    </a:moveTo>
                    <a:cubicBezTo>
                      <a:pt x="189" y="164"/>
                      <a:pt x="189" y="164"/>
                      <a:pt x="189" y="164"/>
                    </a:cubicBezTo>
                    <a:cubicBezTo>
                      <a:pt x="239" y="145"/>
                      <a:pt x="239" y="145"/>
                      <a:pt x="239" y="145"/>
                    </a:cubicBezTo>
                    <a:lnTo>
                      <a:pt x="179" y="144"/>
                    </a:lnTo>
                    <a:close/>
                    <a:moveTo>
                      <a:pt x="147" y="144"/>
                    </a:moveTo>
                    <a:cubicBezTo>
                      <a:pt x="158" y="157"/>
                      <a:pt x="158" y="157"/>
                      <a:pt x="158" y="157"/>
                    </a:cubicBezTo>
                    <a:cubicBezTo>
                      <a:pt x="158" y="144"/>
                      <a:pt x="158" y="144"/>
                      <a:pt x="158" y="144"/>
                    </a:cubicBezTo>
                    <a:lnTo>
                      <a:pt x="147" y="144"/>
                    </a:lnTo>
                    <a:close/>
                    <a:moveTo>
                      <a:pt x="178" y="143"/>
                    </a:moveTo>
                    <a:cubicBezTo>
                      <a:pt x="241" y="144"/>
                      <a:pt x="241" y="144"/>
                      <a:pt x="241" y="144"/>
                    </a:cubicBezTo>
                    <a:cubicBezTo>
                      <a:pt x="160" y="89"/>
                      <a:pt x="160" y="89"/>
                      <a:pt x="160" y="89"/>
                    </a:cubicBezTo>
                    <a:cubicBezTo>
                      <a:pt x="159" y="89"/>
                      <a:pt x="159" y="89"/>
                      <a:pt x="159" y="89"/>
                    </a:cubicBezTo>
                    <a:cubicBezTo>
                      <a:pt x="157" y="99"/>
                      <a:pt x="157" y="99"/>
                      <a:pt x="157" y="99"/>
                    </a:cubicBezTo>
                    <a:lnTo>
                      <a:pt x="178" y="143"/>
                    </a:lnTo>
                    <a:close/>
                    <a:moveTo>
                      <a:pt x="159" y="142"/>
                    </a:moveTo>
                    <a:cubicBezTo>
                      <a:pt x="177" y="143"/>
                      <a:pt x="177" y="143"/>
                      <a:pt x="177" y="143"/>
                    </a:cubicBezTo>
                    <a:cubicBezTo>
                      <a:pt x="157" y="102"/>
                      <a:pt x="157" y="102"/>
                      <a:pt x="157" y="102"/>
                    </a:cubicBezTo>
                    <a:lnTo>
                      <a:pt x="159" y="142"/>
                    </a:lnTo>
                    <a:close/>
                    <a:moveTo>
                      <a:pt x="146" y="142"/>
                    </a:moveTo>
                    <a:cubicBezTo>
                      <a:pt x="158" y="142"/>
                      <a:pt x="158" y="142"/>
                      <a:pt x="158" y="142"/>
                    </a:cubicBezTo>
                    <a:cubicBezTo>
                      <a:pt x="156" y="103"/>
                      <a:pt x="156" y="103"/>
                      <a:pt x="156" y="103"/>
                    </a:cubicBezTo>
                    <a:cubicBezTo>
                      <a:pt x="143" y="139"/>
                      <a:pt x="143" y="139"/>
                      <a:pt x="143" y="139"/>
                    </a:cubicBezTo>
                    <a:lnTo>
                      <a:pt x="146" y="142"/>
                    </a:lnTo>
                    <a:close/>
                    <a:moveTo>
                      <a:pt x="113" y="141"/>
                    </a:moveTo>
                    <a:cubicBezTo>
                      <a:pt x="141" y="142"/>
                      <a:pt x="141" y="142"/>
                      <a:pt x="141" y="142"/>
                    </a:cubicBezTo>
                    <a:cubicBezTo>
                      <a:pt x="142" y="139"/>
                      <a:pt x="142" y="139"/>
                      <a:pt x="142" y="139"/>
                    </a:cubicBezTo>
                    <a:cubicBezTo>
                      <a:pt x="130" y="125"/>
                      <a:pt x="130" y="125"/>
                      <a:pt x="130" y="125"/>
                    </a:cubicBezTo>
                    <a:lnTo>
                      <a:pt x="113" y="141"/>
                    </a:lnTo>
                    <a:close/>
                    <a:moveTo>
                      <a:pt x="28" y="140"/>
                    </a:moveTo>
                    <a:cubicBezTo>
                      <a:pt x="111" y="141"/>
                      <a:pt x="111" y="141"/>
                      <a:pt x="111" y="141"/>
                    </a:cubicBezTo>
                    <a:cubicBezTo>
                      <a:pt x="129" y="124"/>
                      <a:pt x="129" y="124"/>
                      <a:pt x="129" y="124"/>
                    </a:cubicBezTo>
                    <a:cubicBezTo>
                      <a:pt x="115" y="106"/>
                      <a:pt x="115" y="106"/>
                      <a:pt x="115" y="106"/>
                    </a:cubicBezTo>
                    <a:lnTo>
                      <a:pt x="28" y="140"/>
                    </a:lnTo>
                    <a:close/>
                    <a:moveTo>
                      <a:pt x="93" y="80"/>
                    </a:moveTo>
                    <a:cubicBezTo>
                      <a:pt x="28" y="138"/>
                      <a:pt x="28" y="138"/>
                      <a:pt x="28" y="138"/>
                    </a:cubicBezTo>
                    <a:cubicBezTo>
                      <a:pt x="114" y="105"/>
                      <a:pt x="114" y="105"/>
                      <a:pt x="114" y="105"/>
                    </a:cubicBezTo>
                    <a:lnTo>
                      <a:pt x="93" y="80"/>
                    </a:lnTo>
                    <a:close/>
                    <a:moveTo>
                      <a:pt x="131" y="124"/>
                    </a:moveTo>
                    <a:cubicBezTo>
                      <a:pt x="142" y="137"/>
                      <a:pt x="142" y="137"/>
                      <a:pt x="142" y="137"/>
                    </a:cubicBezTo>
                    <a:cubicBezTo>
                      <a:pt x="155" y="101"/>
                      <a:pt x="155" y="101"/>
                      <a:pt x="155" y="101"/>
                    </a:cubicBezTo>
                    <a:lnTo>
                      <a:pt x="131" y="124"/>
                    </a:lnTo>
                    <a:close/>
                    <a:moveTo>
                      <a:pt x="116" y="106"/>
                    </a:moveTo>
                    <a:cubicBezTo>
                      <a:pt x="130" y="123"/>
                      <a:pt x="130" y="123"/>
                      <a:pt x="130" y="123"/>
                    </a:cubicBezTo>
                    <a:cubicBezTo>
                      <a:pt x="155" y="99"/>
                      <a:pt x="155" y="99"/>
                      <a:pt x="155" y="99"/>
                    </a:cubicBezTo>
                    <a:cubicBezTo>
                      <a:pt x="148" y="93"/>
                      <a:pt x="148" y="93"/>
                      <a:pt x="148" y="93"/>
                    </a:cubicBezTo>
                    <a:lnTo>
                      <a:pt x="116" y="106"/>
                    </a:lnTo>
                    <a:close/>
                    <a:moveTo>
                      <a:pt x="94" y="79"/>
                    </a:moveTo>
                    <a:cubicBezTo>
                      <a:pt x="115" y="104"/>
                      <a:pt x="115" y="104"/>
                      <a:pt x="115" y="104"/>
                    </a:cubicBezTo>
                    <a:cubicBezTo>
                      <a:pt x="146" y="92"/>
                      <a:pt x="146" y="92"/>
                      <a:pt x="146" y="92"/>
                    </a:cubicBezTo>
                    <a:cubicBezTo>
                      <a:pt x="110" y="65"/>
                      <a:pt x="110" y="65"/>
                      <a:pt x="110" y="65"/>
                    </a:cubicBezTo>
                    <a:lnTo>
                      <a:pt x="94" y="79"/>
                    </a:lnTo>
                    <a:close/>
                    <a:moveTo>
                      <a:pt x="149" y="93"/>
                    </a:moveTo>
                    <a:cubicBezTo>
                      <a:pt x="156" y="97"/>
                      <a:pt x="156" y="97"/>
                      <a:pt x="156" y="97"/>
                    </a:cubicBezTo>
                    <a:cubicBezTo>
                      <a:pt x="158" y="89"/>
                      <a:pt x="158" y="89"/>
                      <a:pt x="158" y="89"/>
                    </a:cubicBezTo>
                    <a:lnTo>
                      <a:pt x="149" y="93"/>
                    </a:lnTo>
                    <a:close/>
                    <a:moveTo>
                      <a:pt x="111" y="64"/>
                    </a:moveTo>
                    <a:cubicBezTo>
                      <a:pt x="148" y="91"/>
                      <a:pt x="148" y="91"/>
                      <a:pt x="148" y="91"/>
                    </a:cubicBezTo>
                    <a:cubicBezTo>
                      <a:pt x="158" y="88"/>
                      <a:pt x="158" y="88"/>
                      <a:pt x="158" y="88"/>
                    </a:cubicBezTo>
                    <a:cubicBezTo>
                      <a:pt x="179" y="3"/>
                      <a:pt x="179" y="3"/>
                      <a:pt x="179" y="3"/>
                    </a:cubicBezTo>
                    <a:lnTo>
                      <a:pt x="111" y="64"/>
                    </a:lnTo>
                    <a:close/>
                    <a:moveTo>
                      <a:pt x="36" y="8"/>
                    </a:moveTo>
                    <a:cubicBezTo>
                      <a:pt x="93" y="78"/>
                      <a:pt x="93" y="78"/>
                      <a:pt x="93" y="78"/>
                    </a:cubicBezTo>
                    <a:cubicBezTo>
                      <a:pt x="109" y="64"/>
                      <a:pt x="109" y="64"/>
                      <a:pt x="109" y="64"/>
                    </a:cubicBezTo>
                    <a:lnTo>
                      <a:pt x="36" y="8"/>
                    </a:lnTo>
                    <a:close/>
                  </a:path>
                </a:pathLst>
              </a:custGeom>
              <a:solidFill>
                <a:srgbClr val="989898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6" name="Freeform 3951">
                <a:extLst>
                  <a:ext uri="{FF2B5EF4-FFF2-40B4-BE49-F238E27FC236}">
                    <a16:creationId xmlns:a16="http://schemas.microsoft.com/office/drawing/2014/main" id="{1EDEA4CA-12EC-4532-ACF4-37132645A3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702126" y="1012612"/>
                <a:ext cx="291119" cy="513059"/>
              </a:xfrm>
              <a:custGeom>
                <a:avLst/>
                <a:gdLst>
                  <a:gd name="T0" fmla="*/ 1 w 101"/>
                  <a:gd name="T1" fmla="*/ 178 h 178"/>
                  <a:gd name="T2" fmla="*/ 0 w 101"/>
                  <a:gd name="T3" fmla="*/ 176 h 178"/>
                  <a:gd name="T4" fmla="*/ 94 w 101"/>
                  <a:gd name="T5" fmla="*/ 0 h 178"/>
                  <a:gd name="T6" fmla="*/ 95 w 101"/>
                  <a:gd name="T7" fmla="*/ 2 h 178"/>
                  <a:gd name="T8" fmla="*/ 101 w 101"/>
                  <a:gd name="T9" fmla="*/ 93 h 178"/>
                  <a:gd name="T10" fmla="*/ 101 w 101"/>
                  <a:gd name="T11" fmla="*/ 94 h 178"/>
                  <a:gd name="T12" fmla="*/ 1 w 101"/>
                  <a:gd name="T13" fmla="*/ 178 h 178"/>
                  <a:gd name="T14" fmla="*/ 94 w 101"/>
                  <a:gd name="T15" fmla="*/ 5 h 178"/>
                  <a:gd name="T16" fmla="*/ 4 w 101"/>
                  <a:gd name="T17" fmla="*/ 172 h 178"/>
                  <a:gd name="T18" fmla="*/ 99 w 101"/>
                  <a:gd name="T19" fmla="*/ 93 h 178"/>
                  <a:gd name="T20" fmla="*/ 94 w 101"/>
                  <a:gd name="T21" fmla="*/ 5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1" h="178">
                    <a:moveTo>
                      <a:pt x="1" y="178"/>
                    </a:moveTo>
                    <a:lnTo>
                      <a:pt x="0" y="176"/>
                    </a:lnTo>
                    <a:lnTo>
                      <a:pt x="94" y="0"/>
                    </a:lnTo>
                    <a:lnTo>
                      <a:pt x="95" y="2"/>
                    </a:lnTo>
                    <a:lnTo>
                      <a:pt x="101" y="93"/>
                    </a:lnTo>
                    <a:lnTo>
                      <a:pt x="101" y="94"/>
                    </a:lnTo>
                    <a:lnTo>
                      <a:pt x="1" y="178"/>
                    </a:lnTo>
                    <a:close/>
                    <a:moveTo>
                      <a:pt x="94" y="5"/>
                    </a:moveTo>
                    <a:lnTo>
                      <a:pt x="4" y="172"/>
                    </a:lnTo>
                    <a:lnTo>
                      <a:pt x="99" y="93"/>
                    </a:lnTo>
                    <a:lnTo>
                      <a:pt x="94" y="5"/>
                    </a:lnTo>
                    <a:close/>
                  </a:path>
                </a:pathLst>
              </a:custGeom>
              <a:solidFill>
                <a:srgbClr val="989898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7" name="Freeform 3952">
                <a:extLst>
                  <a:ext uri="{FF2B5EF4-FFF2-40B4-BE49-F238E27FC236}">
                    <a16:creationId xmlns:a16="http://schemas.microsoft.com/office/drawing/2014/main" id="{A0DCC2BA-EEC4-438A-B511-6A28F94DDCB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45597" y="2093497"/>
                <a:ext cx="648531" cy="216178"/>
              </a:xfrm>
              <a:custGeom>
                <a:avLst/>
                <a:gdLst>
                  <a:gd name="T0" fmla="*/ 0 w 225"/>
                  <a:gd name="T1" fmla="*/ 75 h 75"/>
                  <a:gd name="T2" fmla="*/ 0 w 225"/>
                  <a:gd name="T3" fmla="*/ 72 h 75"/>
                  <a:gd name="T4" fmla="*/ 140 w 225"/>
                  <a:gd name="T5" fmla="*/ 0 h 75"/>
                  <a:gd name="T6" fmla="*/ 142 w 225"/>
                  <a:gd name="T7" fmla="*/ 0 h 75"/>
                  <a:gd name="T8" fmla="*/ 225 w 225"/>
                  <a:gd name="T9" fmla="*/ 69 h 75"/>
                  <a:gd name="T10" fmla="*/ 225 w 225"/>
                  <a:gd name="T11" fmla="*/ 71 h 75"/>
                  <a:gd name="T12" fmla="*/ 0 w 225"/>
                  <a:gd name="T13" fmla="*/ 75 h 75"/>
                  <a:gd name="T14" fmla="*/ 142 w 225"/>
                  <a:gd name="T15" fmla="*/ 3 h 75"/>
                  <a:gd name="T16" fmla="*/ 6 w 225"/>
                  <a:gd name="T17" fmla="*/ 72 h 75"/>
                  <a:gd name="T18" fmla="*/ 222 w 225"/>
                  <a:gd name="T19" fmla="*/ 68 h 75"/>
                  <a:gd name="T20" fmla="*/ 142 w 225"/>
                  <a:gd name="T21" fmla="*/ 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5" h="75">
                    <a:moveTo>
                      <a:pt x="0" y="75"/>
                    </a:moveTo>
                    <a:lnTo>
                      <a:pt x="0" y="72"/>
                    </a:lnTo>
                    <a:lnTo>
                      <a:pt x="140" y="0"/>
                    </a:lnTo>
                    <a:lnTo>
                      <a:pt x="142" y="0"/>
                    </a:lnTo>
                    <a:lnTo>
                      <a:pt x="225" y="69"/>
                    </a:lnTo>
                    <a:lnTo>
                      <a:pt x="225" y="71"/>
                    </a:lnTo>
                    <a:lnTo>
                      <a:pt x="0" y="75"/>
                    </a:lnTo>
                    <a:close/>
                    <a:moveTo>
                      <a:pt x="142" y="3"/>
                    </a:moveTo>
                    <a:lnTo>
                      <a:pt x="6" y="72"/>
                    </a:lnTo>
                    <a:lnTo>
                      <a:pt x="222" y="68"/>
                    </a:lnTo>
                    <a:lnTo>
                      <a:pt x="142" y="3"/>
                    </a:lnTo>
                    <a:close/>
                  </a:path>
                </a:pathLst>
              </a:custGeom>
              <a:solidFill>
                <a:srgbClr val="989898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8" name="Freeform 3953">
                <a:extLst>
                  <a:ext uri="{FF2B5EF4-FFF2-40B4-BE49-F238E27FC236}">
                    <a16:creationId xmlns:a16="http://schemas.microsoft.com/office/drawing/2014/main" id="{E19D1202-5F06-4DFB-96FF-E57909B919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49127" y="2744909"/>
                <a:ext cx="172941" cy="308413"/>
              </a:xfrm>
              <a:custGeom>
                <a:avLst/>
                <a:gdLst>
                  <a:gd name="T0" fmla="*/ 37 w 60"/>
                  <a:gd name="T1" fmla="*/ 107 h 107"/>
                  <a:gd name="T2" fmla="*/ 0 w 60"/>
                  <a:gd name="T3" fmla="*/ 67 h 107"/>
                  <a:gd name="T4" fmla="*/ 0 w 60"/>
                  <a:gd name="T5" fmla="*/ 66 h 107"/>
                  <a:gd name="T6" fmla="*/ 59 w 60"/>
                  <a:gd name="T7" fmla="*/ 0 h 107"/>
                  <a:gd name="T8" fmla="*/ 60 w 60"/>
                  <a:gd name="T9" fmla="*/ 0 h 107"/>
                  <a:gd name="T10" fmla="*/ 38 w 60"/>
                  <a:gd name="T11" fmla="*/ 105 h 107"/>
                  <a:gd name="T12" fmla="*/ 37 w 60"/>
                  <a:gd name="T13" fmla="*/ 107 h 107"/>
                  <a:gd name="T14" fmla="*/ 3 w 60"/>
                  <a:gd name="T15" fmla="*/ 66 h 107"/>
                  <a:gd name="T16" fmla="*/ 37 w 60"/>
                  <a:gd name="T17" fmla="*/ 104 h 107"/>
                  <a:gd name="T18" fmla="*/ 57 w 60"/>
                  <a:gd name="T19" fmla="*/ 4 h 107"/>
                  <a:gd name="T20" fmla="*/ 3 w 60"/>
                  <a:gd name="T21" fmla="*/ 66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0" h="107">
                    <a:moveTo>
                      <a:pt x="37" y="107"/>
                    </a:moveTo>
                    <a:lnTo>
                      <a:pt x="0" y="67"/>
                    </a:lnTo>
                    <a:lnTo>
                      <a:pt x="0" y="66"/>
                    </a:lnTo>
                    <a:lnTo>
                      <a:pt x="59" y="0"/>
                    </a:lnTo>
                    <a:lnTo>
                      <a:pt x="60" y="0"/>
                    </a:lnTo>
                    <a:lnTo>
                      <a:pt x="38" y="105"/>
                    </a:lnTo>
                    <a:lnTo>
                      <a:pt x="37" y="107"/>
                    </a:lnTo>
                    <a:close/>
                    <a:moveTo>
                      <a:pt x="3" y="66"/>
                    </a:moveTo>
                    <a:lnTo>
                      <a:pt x="37" y="104"/>
                    </a:lnTo>
                    <a:lnTo>
                      <a:pt x="57" y="4"/>
                    </a:lnTo>
                    <a:lnTo>
                      <a:pt x="3" y="66"/>
                    </a:lnTo>
                    <a:close/>
                  </a:path>
                </a:pathLst>
              </a:custGeom>
              <a:solidFill>
                <a:srgbClr val="989898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AB0C68C9-FE36-4F2F-940D-88381CEDE7E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915346" y="-18203"/>
              <a:ext cx="1441331" cy="3868521"/>
            </a:xfrm>
            <a:custGeom>
              <a:avLst/>
              <a:gdLst>
                <a:gd name="T0" fmla="*/ 330 w 658"/>
                <a:gd name="T1" fmla="*/ 687 h 1764"/>
                <a:gd name="T2" fmla="*/ 462 w 658"/>
                <a:gd name="T3" fmla="*/ 762 h 1764"/>
                <a:gd name="T4" fmla="*/ 436 w 658"/>
                <a:gd name="T5" fmla="*/ 801 h 1764"/>
                <a:gd name="T6" fmla="*/ 212 w 658"/>
                <a:gd name="T7" fmla="*/ 812 h 1764"/>
                <a:gd name="T8" fmla="*/ 461 w 658"/>
                <a:gd name="T9" fmla="*/ 867 h 1764"/>
                <a:gd name="T10" fmla="*/ 428 w 658"/>
                <a:gd name="T11" fmla="*/ 946 h 1764"/>
                <a:gd name="T12" fmla="*/ 648 w 658"/>
                <a:gd name="T13" fmla="*/ 1447 h 1764"/>
                <a:gd name="T14" fmla="*/ 20 w 658"/>
                <a:gd name="T15" fmla="*/ 1559 h 1764"/>
                <a:gd name="T16" fmla="*/ 149 w 658"/>
                <a:gd name="T17" fmla="*/ 1086 h 1764"/>
                <a:gd name="T18" fmla="*/ 213 w 658"/>
                <a:gd name="T19" fmla="*/ 835 h 1764"/>
                <a:gd name="T20" fmla="*/ 267 w 658"/>
                <a:gd name="T21" fmla="*/ 692 h 1764"/>
                <a:gd name="T22" fmla="*/ 323 w 658"/>
                <a:gd name="T23" fmla="*/ 0 h 1764"/>
                <a:gd name="T24" fmla="*/ 534 w 658"/>
                <a:gd name="T25" fmla="*/ 1605 h 1764"/>
                <a:gd name="T26" fmla="*/ 612 w 658"/>
                <a:gd name="T27" fmla="*/ 1497 h 1764"/>
                <a:gd name="T28" fmla="*/ 257 w 658"/>
                <a:gd name="T29" fmla="*/ 1027 h 1764"/>
                <a:gd name="T30" fmla="*/ 430 w 658"/>
                <a:gd name="T31" fmla="*/ 1633 h 1764"/>
                <a:gd name="T32" fmla="*/ 425 w 658"/>
                <a:gd name="T33" fmla="*/ 1056 h 1764"/>
                <a:gd name="T34" fmla="*/ 406 w 658"/>
                <a:gd name="T35" fmla="*/ 1277 h 1764"/>
                <a:gd name="T36" fmla="*/ 330 w 658"/>
                <a:gd name="T37" fmla="*/ 1315 h 1764"/>
                <a:gd name="T38" fmla="*/ 307 w 658"/>
                <a:gd name="T39" fmla="*/ 1317 h 1764"/>
                <a:gd name="T40" fmla="*/ 183 w 658"/>
                <a:gd name="T41" fmla="*/ 1293 h 1764"/>
                <a:gd name="T42" fmla="*/ 360 w 658"/>
                <a:gd name="T43" fmla="*/ 991 h 1764"/>
                <a:gd name="T44" fmla="*/ 373 w 658"/>
                <a:gd name="T45" fmla="*/ 1279 h 1764"/>
                <a:gd name="T46" fmla="*/ 93 w 658"/>
                <a:gd name="T47" fmla="*/ 1441 h 1764"/>
                <a:gd name="T48" fmla="*/ 211 w 658"/>
                <a:gd name="T49" fmla="*/ 1672 h 1764"/>
                <a:gd name="T50" fmla="*/ 531 w 658"/>
                <a:gd name="T51" fmla="*/ 1255 h 1764"/>
                <a:gd name="T52" fmla="*/ 605 w 658"/>
                <a:gd name="T53" fmla="*/ 1391 h 1764"/>
                <a:gd name="T54" fmla="*/ 308 w 658"/>
                <a:gd name="T55" fmla="*/ 1737 h 1764"/>
                <a:gd name="T56" fmla="*/ 233 w 658"/>
                <a:gd name="T57" fmla="*/ 1692 h 1764"/>
                <a:gd name="T58" fmla="*/ 58 w 658"/>
                <a:gd name="T59" fmla="*/ 1429 h 1764"/>
                <a:gd name="T60" fmla="*/ 635 w 658"/>
                <a:gd name="T61" fmla="*/ 1473 h 1764"/>
                <a:gd name="T62" fmla="*/ 448 w 658"/>
                <a:gd name="T63" fmla="*/ 771 h 1764"/>
                <a:gd name="T64" fmla="*/ 222 w 658"/>
                <a:gd name="T65" fmla="*/ 727 h 1764"/>
                <a:gd name="T66" fmla="*/ 444 w 658"/>
                <a:gd name="T67" fmla="*/ 1343 h 1764"/>
                <a:gd name="T68" fmla="*/ 445 w 658"/>
                <a:gd name="T69" fmla="*/ 867 h 1764"/>
                <a:gd name="T70" fmla="*/ 328 w 658"/>
                <a:gd name="T71" fmla="*/ 872 h 1764"/>
                <a:gd name="T72" fmla="*/ 550 w 658"/>
                <a:gd name="T73" fmla="*/ 1536 h 1764"/>
                <a:gd name="T74" fmla="*/ 128 w 658"/>
                <a:gd name="T75" fmla="*/ 1219 h 1764"/>
                <a:gd name="T76" fmla="*/ 213 w 658"/>
                <a:gd name="T77" fmla="*/ 765 h 1764"/>
                <a:gd name="T78" fmla="*/ 435 w 658"/>
                <a:gd name="T79" fmla="*/ 900 h 1764"/>
                <a:gd name="T80" fmla="*/ 198 w 658"/>
                <a:gd name="T81" fmla="*/ 1026 h 1764"/>
                <a:gd name="T82" fmla="*/ 334 w 658"/>
                <a:gd name="T83" fmla="*/ 700 h 1764"/>
                <a:gd name="T84" fmla="*/ 466 w 658"/>
                <a:gd name="T85" fmla="*/ 1064 h 1764"/>
                <a:gd name="T86" fmla="*/ 215 w 658"/>
                <a:gd name="T87" fmla="*/ 903 h 1764"/>
                <a:gd name="T88" fmla="*/ 199 w 658"/>
                <a:gd name="T89" fmla="*/ 1324 h 1764"/>
                <a:gd name="T90" fmla="*/ 310 w 658"/>
                <a:gd name="T91" fmla="*/ 1374 h 1764"/>
                <a:gd name="T92" fmla="*/ 364 w 658"/>
                <a:gd name="T93" fmla="*/ 933 h 1764"/>
                <a:gd name="T94" fmla="*/ 566 w 658"/>
                <a:gd name="T95" fmla="*/ 1246 h 1764"/>
                <a:gd name="T96" fmla="*/ 101 w 658"/>
                <a:gd name="T97" fmla="*/ 1297 h 1764"/>
                <a:gd name="T98" fmla="*/ 351 w 658"/>
                <a:gd name="T99" fmla="*/ 956 h 1764"/>
                <a:gd name="T100" fmla="*/ 206 w 658"/>
                <a:gd name="T101" fmla="*/ 1689 h 1764"/>
                <a:gd name="T102" fmla="*/ 360 w 658"/>
                <a:gd name="T103" fmla="*/ 971 h 1764"/>
                <a:gd name="T104" fmla="*/ 59 w 658"/>
                <a:gd name="T105" fmla="*/ 1318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8" h="1764">
                  <a:moveTo>
                    <a:pt x="336" y="0"/>
                  </a:moveTo>
                  <a:cubicBezTo>
                    <a:pt x="335" y="65"/>
                    <a:pt x="334" y="130"/>
                    <a:pt x="334" y="195"/>
                  </a:cubicBezTo>
                  <a:cubicBezTo>
                    <a:pt x="333" y="234"/>
                    <a:pt x="332" y="273"/>
                    <a:pt x="331" y="312"/>
                  </a:cubicBezTo>
                  <a:cubicBezTo>
                    <a:pt x="330" y="433"/>
                    <a:pt x="330" y="554"/>
                    <a:pt x="329" y="675"/>
                  </a:cubicBezTo>
                  <a:cubicBezTo>
                    <a:pt x="329" y="679"/>
                    <a:pt x="329" y="682"/>
                    <a:pt x="330" y="687"/>
                  </a:cubicBezTo>
                  <a:cubicBezTo>
                    <a:pt x="347" y="690"/>
                    <a:pt x="364" y="692"/>
                    <a:pt x="381" y="695"/>
                  </a:cubicBezTo>
                  <a:cubicBezTo>
                    <a:pt x="387" y="697"/>
                    <a:pt x="393" y="698"/>
                    <a:pt x="398" y="701"/>
                  </a:cubicBezTo>
                  <a:cubicBezTo>
                    <a:pt x="417" y="709"/>
                    <a:pt x="417" y="722"/>
                    <a:pt x="399" y="742"/>
                  </a:cubicBezTo>
                  <a:cubicBezTo>
                    <a:pt x="413" y="745"/>
                    <a:pt x="426" y="749"/>
                    <a:pt x="440" y="753"/>
                  </a:cubicBezTo>
                  <a:cubicBezTo>
                    <a:pt x="447" y="755"/>
                    <a:pt x="455" y="758"/>
                    <a:pt x="462" y="762"/>
                  </a:cubicBezTo>
                  <a:cubicBezTo>
                    <a:pt x="467" y="764"/>
                    <a:pt x="469" y="770"/>
                    <a:pt x="473" y="774"/>
                  </a:cubicBezTo>
                  <a:cubicBezTo>
                    <a:pt x="468" y="777"/>
                    <a:pt x="464" y="783"/>
                    <a:pt x="459" y="784"/>
                  </a:cubicBezTo>
                  <a:cubicBezTo>
                    <a:pt x="437" y="785"/>
                    <a:pt x="416" y="785"/>
                    <a:pt x="394" y="785"/>
                  </a:cubicBezTo>
                  <a:cubicBezTo>
                    <a:pt x="387" y="785"/>
                    <a:pt x="379" y="785"/>
                    <a:pt x="368" y="785"/>
                  </a:cubicBezTo>
                  <a:cubicBezTo>
                    <a:pt x="393" y="791"/>
                    <a:pt x="415" y="795"/>
                    <a:pt x="436" y="801"/>
                  </a:cubicBezTo>
                  <a:cubicBezTo>
                    <a:pt x="445" y="804"/>
                    <a:pt x="452" y="813"/>
                    <a:pt x="459" y="819"/>
                  </a:cubicBezTo>
                  <a:cubicBezTo>
                    <a:pt x="450" y="823"/>
                    <a:pt x="440" y="830"/>
                    <a:pt x="431" y="830"/>
                  </a:cubicBezTo>
                  <a:cubicBezTo>
                    <a:pt x="367" y="832"/>
                    <a:pt x="303" y="826"/>
                    <a:pt x="243" y="802"/>
                  </a:cubicBezTo>
                  <a:cubicBezTo>
                    <a:pt x="242" y="801"/>
                    <a:pt x="240" y="800"/>
                    <a:pt x="239" y="800"/>
                  </a:cubicBezTo>
                  <a:cubicBezTo>
                    <a:pt x="230" y="804"/>
                    <a:pt x="221" y="808"/>
                    <a:pt x="212" y="812"/>
                  </a:cubicBezTo>
                  <a:cubicBezTo>
                    <a:pt x="217" y="817"/>
                    <a:pt x="223" y="824"/>
                    <a:pt x="229" y="827"/>
                  </a:cubicBezTo>
                  <a:cubicBezTo>
                    <a:pt x="234" y="830"/>
                    <a:pt x="241" y="830"/>
                    <a:pt x="247" y="830"/>
                  </a:cubicBezTo>
                  <a:cubicBezTo>
                    <a:pt x="310" y="825"/>
                    <a:pt x="372" y="831"/>
                    <a:pt x="433" y="846"/>
                  </a:cubicBezTo>
                  <a:cubicBezTo>
                    <a:pt x="435" y="847"/>
                    <a:pt x="438" y="847"/>
                    <a:pt x="439" y="848"/>
                  </a:cubicBezTo>
                  <a:cubicBezTo>
                    <a:pt x="447" y="854"/>
                    <a:pt x="454" y="860"/>
                    <a:pt x="461" y="867"/>
                  </a:cubicBezTo>
                  <a:cubicBezTo>
                    <a:pt x="454" y="873"/>
                    <a:pt x="448" y="880"/>
                    <a:pt x="442" y="885"/>
                  </a:cubicBezTo>
                  <a:cubicBezTo>
                    <a:pt x="444" y="889"/>
                    <a:pt x="453" y="900"/>
                    <a:pt x="451" y="903"/>
                  </a:cubicBezTo>
                  <a:cubicBezTo>
                    <a:pt x="445" y="910"/>
                    <a:pt x="436" y="915"/>
                    <a:pt x="427" y="916"/>
                  </a:cubicBezTo>
                  <a:cubicBezTo>
                    <a:pt x="413" y="918"/>
                    <a:pt x="397" y="917"/>
                    <a:pt x="382" y="920"/>
                  </a:cubicBezTo>
                  <a:cubicBezTo>
                    <a:pt x="397" y="929"/>
                    <a:pt x="413" y="938"/>
                    <a:pt x="428" y="946"/>
                  </a:cubicBezTo>
                  <a:cubicBezTo>
                    <a:pt x="463" y="965"/>
                    <a:pt x="482" y="997"/>
                    <a:pt x="482" y="1034"/>
                  </a:cubicBezTo>
                  <a:cubicBezTo>
                    <a:pt x="483" y="1085"/>
                    <a:pt x="503" y="1127"/>
                    <a:pt x="530" y="1167"/>
                  </a:cubicBezTo>
                  <a:cubicBezTo>
                    <a:pt x="555" y="1204"/>
                    <a:pt x="582" y="1240"/>
                    <a:pt x="606" y="1277"/>
                  </a:cubicBezTo>
                  <a:cubicBezTo>
                    <a:pt x="633" y="1318"/>
                    <a:pt x="647" y="1364"/>
                    <a:pt x="645" y="1413"/>
                  </a:cubicBezTo>
                  <a:cubicBezTo>
                    <a:pt x="644" y="1425"/>
                    <a:pt x="647" y="1436"/>
                    <a:pt x="648" y="1447"/>
                  </a:cubicBezTo>
                  <a:cubicBezTo>
                    <a:pt x="658" y="1522"/>
                    <a:pt x="633" y="1584"/>
                    <a:pt x="583" y="1638"/>
                  </a:cubicBezTo>
                  <a:cubicBezTo>
                    <a:pt x="536" y="1689"/>
                    <a:pt x="479" y="1723"/>
                    <a:pt x="411" y="1738"/>
                  </a:cubicBezTo>
                  <a:cubicBezTo>
                    <a:pt x="377" y="1745"/>
                    <a:pt x="343" y="1758"/>
                    <a:pt x="308" y="1760"/>
                  </a:cubicBezTo>
                  <a:cubicBezTo>
                    <a:pt x="236" y="1764"/>
                    <a:pt x="175" y="1733"/>
                    <a:pt x="120" y="1689"/>
                  </a:cubicBezTo>
                  <a:cubicBezTo>
                    <a:pt x="76" y="1653"/>
                    <a:pt x="40" y="1612"/>
                    <a:pt x="20" y="1559"/>
                  </a:cubicBezTo>
                  <a:cubicBezTo>
                    <a:pt x="0" y="1507"/>
                    <a:pt x="3" y="1455"/>
                    <a:pt x="20" y="1402"/>
                  </a:cubicBezTo>
                  <a:cubicBezTo>
                    <a:pt x="24" y="1387"/>
                    <a:pt x="27" y="1371"/>
                    <a:pt x="31" y="1355"/>
                  </a:cubicBezTo>
                  <a:cubicBezTo>
                    <a:pt x="39" y="1314"/>
                    <a:pt x="58" y="1280"/>
                    <a:pt x="88" y="1250"/>
                  </a:cubicBezTo>
                  <a:cubicBezTo>
                    <a:pt x="97" y="1242"/>
                    <a:pt x="105" y="1230"/>
                    <a:pt x="109" y="1219"/>
                  </a:cubicBezTo>
                  <a:cubicBezTo>
                    <a:pt x="123" y="1175"/>
                    <a:pt x="137" y="1131"/>
                    <a:pt x="149" y="1086"/>
                  </a:cubicBezTo>
                  <a:cubicBezTo>
                    <a:pt x="154" y="1071"/>
                    <a:pt x="154" y="1054"/>
                    <a:pt x="158" y="1038"/>
                  </a:cubicBezTo>
                  <a:cubicBezTo>
                    <a:pt x="169" y="993"/>
                    <a:pt x="200" y="961"/>
                    <a:pt x="226" y="928"/>
                  </a:cubicBezTo>
                  <a:cubicBezTo>
                    <a:pt x="218" y="920"/>
                    <a:pt x="209" y="912"/>
                    <a:pt x="200" y="904"/>
                  </a:cubicBezTo>
                  <a:cubicBezTo>
                    <a:pt x="208" y="896"/>
                    <a:pt x="216" y="889"/>
                    <a:pt x="224" y="882"/>
                  </a:cubicBezTo>
                  <a:cubicBezTo>
                    <a:pt x="194" y="859"/>
                    <a:pt x="192" y="852"/>
                    <a:pt x="213" y="835"/>
                  </a:cubicBezTo>
                  <a:cubicBezTo>
                    <a:pt x="190" y="817"/>
                    <a:pt x="191" y="809"/>
                    <a:pt x="217" y="790"/>
                  </a:cubicBezTo>
                  <a:cubicBezTo>
                    <a:pt x="212" y="784"/>
                    <a:pt x="206" y="778"/>
                    <a:pt x="201" y="772"/>
                  </a:cubicBezTo>
                  <a:cubicBezTo>
                    <a:pt x="199" y="768"/>
                    <a:pt x="196" y="761"/>
                    <a:pt x="197" y="757"/>
                  </a:cubicBezTo>
                  <a:cubicBezTo>
                    <a:pt x="204" y="741"/>
                    <a:pt x="210" y="722"/>
                    <a:pt x="222" y="711"/>
                  </a:cubicBezTo>
                  <a:cubicBezTo>
                    <a:pt x="233" y="700"/>
                    <a:pt x="251" y="696"/>
                    <a:pt x="267" y="692"/>
                  </a:cubicBezTo>
                  <a:cubicBezTo>
                    <a:pt x="282" y="688"/>
                    <a:pt x="298" y="688"/>
                    <a:pt x="315" y="687"/>
                  </a:cubicBezTo>
                  <a:cubicBezTo>
                    <a:pt x="315" y="677"/>
                    <a:pt x="315" y="667"/>
                    <a:pt x="315" y="657"/>
                  </a:cubicBezTo>
                  <a:cubicBezTo>
                    <a:pt x="316" y="557"/>
                    <a:pt x="317" y="458"/>
                    <a:pt x="318" y="358"/>
                  </a:cubicBezTo>
                  <a:cubicBezTo>
                    <a:pt x="318" y="297"/>
                    <a:pt x="319" y="236"/>
                    <a:pt x="320" y="175"/>
                  </a:cubicBezTo>
                  <a:cubicBezTo>
                    <a:pt x="321" y="116"/>
                    <a:pt x="322" y="58"/>
                    <a:pt x="323" y="0"/>
                  </a:cubicBezTo>
                  <a:cubicBezTo>
                    <a:pt x="327" y="0"/>
                    <a:pt x="332" y="0"/>
                    <a:pt x="336" y="0"/>
                  </a:cubicBezTo>
                  <a:close/>
                  <a:moveTo>
                    <a:pt x="612" y="1496"/>
                  </a:moveTo>
                  <a:cubicBezTo>
                    <a:pt x="611" y="1497"/>
                    <a:pt x="609" y="1497"/>
                    <a:pt x="609" y="1498"/>
                  </a:cubicBezTo>
                  <a:cubicBezTo>
                    <a:pt x="596" y="1538"/>
                    <a:pt x="573" y="1571"/>
                    <a:pt x="540" y="1597"/>
                  </a:cubicBezTo>
                  <a:cubicBezTo>
                    <a:pt x="537" y="1599"/>
                    <a:pt x="536" y="1602"/>
                    <a:pt x="534" y="1605"/>
                  </a:cubicBezTo>
                  <a:cubicBezTo>
                    <a:pt x="505" y="1652"/>
                    <a:pt x="466" y="1688"/>
                    <a:pt x="413" y="1705"/>
                  </a:cubicBezTo>
                  <a:cubicBezTo>
                    <a:pt x="387" y="1714"/>
                    <a:pt x="359" y="1720"/>
                    <a:pt x="329" y="1727"/>
                  </a:cubicBezTo>
                  <a:cubicBezTo>
                    <a:pt x="363" y="1728"/>
                    <a:pt x="395" y="1732"/>
                    <a:pt x="427" y="1715"/>
                  </a:cubicBezTo>
                  <a:cubicBezTo>
                    <a:pt x="475" y="1688"/>
                    <a:pt x="516" y="1653"/>
                    <a:pt x="551" y="1612"/>
                  </a:cubicBezTo>
                  <a:cubicBezTo>
                    <a:pt x="580" y="1578"/>
                    <a:pt x="604" y="1541"/>
                    <a:pt x="612" y="1497"/>
                  </a:cubicBezTo>
                  <a:cubicBezTo>
                    <a:pt x="629" y="1458"/>
                    <a:pt x="639" y="1418"/>
                    <a:pt x="617" y="1376"/>
                  </a:cubicBezTo>
                  <a:cubicBezTo>
                    <a:pt x="618" y="1391"/>
                    <a:pt x="622" y="1405"/>
                    <a:pt x="621" y="1418"/>
                  </a:cubicBezTo>
                  <a:cubicBezTo>
                    <a:pt x="619" y="1444"/>
                    <a:pt x="615" y="1470"/>
                    <a:pt x="612" y="1496"/>
                  </a:cubicBezTo>
                  <a:close/>
                  <a:moveTo>
                    <a:pt x="305" y="988"/>
                  </a:moveTo>
                  <a:cubicBezTo>
                    <a:pt x="280" y="990"/>
                    <a:pt x="265" y="1004"/>
                    <a:pt x="257" y="1027"/>
                  </a:cubicBezTo>
                  <a:cubicBezTo>
                    <a:pt x="242" y="1069"/>
                    <a:pt x="228" y="1112"/>
                    <a:pt x="211" y="1154"/>
                  </a:cubicBezTo>
                  <a:cubicBezTo>
                    <a:pt x="204" y="1173"/>
                    <a:pt x="196" y="1193"/>
                    <a:pt x="183" y="1209"/>
                  </a:cubicBezTo>
                  <a:cubicBezTo>
                    <a:pt x="132" y="1272"/>
                    <a:pt x="109" y="1345"/>
                    <a:pt x="106" y="1424"/>
                  </a:cubicBezTo>
                  <a:cubicBezTo>
                    <a:pt x="103" y="1513"/>
                    <a:pt x="140" y="1583"/>
                    <a:pt x="226" y="1617"/>
                  </a:cubicBezTo>
                  <a:cubicBezTo>
                    <a:pt x="292" y="1644"/>
                    <a:pt x="361" y="1647"/>
                    <a:pt x="430" y="1633"/>
                  </a:cubicBezTo>
                  <a:cubicBezTo>
                    <a:pt x="453" y="1628"/>
                    <a:pt x="477" y="1622"/>
                    <a:pt x="495" y="1602"/>
                  </a:cubicBezTo>
                  <a:cubicBezTo>
                    <a:pt x="549" y="1543"/>
                    <a:pt x="559" y="1472"/>
                    <a:pt x="547" y="1398"/>
                  </a:cubicBezTo>
                  <a:cubicBezTo>
                    <a:pt x="540" y="1356"/>
                    <a:pt x="522" y="1317"/>
                    <a:pt x="506" y="1277"/>
                  </a:cubicBezTo>
                  <a:cubicBezTo>
                    <a:pt x="494" y="1245"/>
                    <a:pt x="480" y="1212"/>
                    <a:pt x="463" y="1181"/>
                  </a:cubicBezTo>
                  <a:cubicBezTo>
                    <a:pt x="441" y="1142"/>
                    <a:pt x="425" y="1102"/>
                    <a:pt x="425" y="1056"/>
                  </a:cubicBezTo>
                  <a:cubicBezTo>
                    <a:pt x="425" y="1025"/>
                    <a:pt x="406" y="1004"/>
                    <a:pt x="373" y="996"/>
                  </a:cubicBezTo>
                  <a:cubicBezTo>
                    <a:pt x="372" y="998"/>
                    <a:pt x="371" y="1001"/>
                    <a:pt x="370" y="1003"/>
                  </a:cubicBezTo>
                  <a:cubicBezTo>
                    <a:pt x="369" y="1010"/>
                    <a:pt x="368" y="1016"/>
                    <a:pt x="367" y="1023"/>
                  </a:cubicBezTo>
                  <a:cubicBezTo>
                    <a:pt x="356" y="1102"/>
                    <a:pt x="358" y="1180"/>
                    <a:pt x="379" y="1257"/>
                  </a:cubicBezTo>
                  <a:cubicBezTo>
                    <a:pt x="384" y="1273"/>
                    <a:pt x="390" y="1278"/>
                    <a:pt x="406" y="1277"/>
                  </a:cubicBezTo>
                  <a:cubicBezTo>
                    <a:pt x="437" y="1276"/>
                    <a:pt x="461" y="1293"/>
                    <a:pt x="471" y="1319"/>
                  </a:cubicBezTo>
                  <a:cubicBezTo>
                    <a:pt x="478" y="1338"/>
                    <a:pt x="468" y="1354"/>
                    <a:pt x="449" y="1355"/>
                  </a:cubicBezTo>
                  <a:cubicBezTo>
                    <a:pt x="425" y="1358"/>
                    <a:pt x="407" y="1348"/>
                    <a:pt x="395" y="1329"/>
                  </a:cubicBezTo>
                  <a:cubicBezTo>
                    <a:pt x="388" y="1318"/>
                    <a:pt x="382" y="1306"/>
                    <a:pt x="375" y="1293"/>
                  </a:cubicBezTo>
                  <a:cubicBezTo>
                    <a:pt x="359" y="1301"/>
                    <a:pt x="343" y="1309"/>
                    <a:pt x="330" y="1315"/>
                  </a:cubicBezTo>
                  <a:cubicBezTo>
                    <a:pt x="333" y="1337"/>
                    <a:pt x="336" y="1355"/>
                    <a:pt x="336" y="1372"/>
                  </a:cubicBezTo>
                  <a:cubicBezTo>
                    <a:pt x="336" y="1378"/>
                    <a:pt x="330" y="1388"/>
                    <a:pt x="324" y="1390"/>
                  </a:cubicBezTo>
                  <a:cubicBezTo>
                    <a:pt x="318" y="1392"/>
                    <a:pt x="308" y="1389"/>
                    <a:pt x="302" y="1384"/>
                  </a:cubicBezTo>
                  <a:cubicBezTo>
                    <a:pt x="287" y="1372"/>
                    <a:pt x="284" y="1357"/>
                    <a:pt x="293" y="1339"/>
                  </a:cubicBezTo>
                  <a:cubicBezTo>
                    <a:pt x="297" y="1332"/>
                    <a:pt x="302" y="1325"/>
                    <a:pt x="307" y="1317"/>
                  </a:cubicBezTo>
                  <a:cubicBezTo>
                    <a:pt x="291" y="1310"/>
                    <a:pt x="276" y="1303"/>
                    <a:pt x="260" y="1297"/>
                  </a:cubicBezTo>
                  <a:cubicBezTo>
                    <a:pt x="256" y="1296"/>
                    <a:pt x="249" y="1299"/>
                    <a:pt x="245" y="1302"/>
                  </a:cubicBezTo>
                  <a:cubicBezTo>
                    <a:pt x="234" y="1310"/>
                    <a:pt x="224" y="1321"/>
                    <a:pt x="212" y="1330"/>
                  </a:cubicBezTo>
                  <a:cubicBezTo>
                    <a:pt x="202" y="1337"/>
                    <a:pt x="190" y="1336"/>
                    <a:pt x="185" y="1325"/>
                  </a:cubicBezTo>
                  <a:cubicBezTo>
                    <a:pt x="181" y="1315"/>
                    <a:pt x="179" y="1301"/>
                    <a:pt x="183" y="1293"/>
                  </a:cubicBezTo>
                  <a:cubicBezTo>
                    <a:pt x="187" y="1285"/>
                    <a:pt x="199" y="1279"/>
                    <a:pt x="209" y="1277"/>
                  </a:cubicBezTo>
                  <a:cubicBezTo>
                    <a:pt x="221" y="1274"/>
                    <a:pt x="234" y="1276"/>
                    <a:pt x="248" y="1276"/>
                  </a:cubicBezTo>
                  <a:cubicBezTo>
                    <a:pt x="297" y="1211"/>
                    <a:pt x="316" y="1089"/>
                    <a:pt x="305" y="988"/>
                  </a:cubicBezTo>
                  <a:close/>
                  <a:moveTo>
                    <a:pt x="373" y="1279"/>
                  </a:moveTo>
                  <a:cubicBezTo>
                    <a:pt x="343" y="1185"/>
                    <a:pt x="340" y="1089"/>
                    <a:pt x="360" y="991"/>
                  </a:cubicBezTo>
                  <a:cubicBezTo>
                    <a:pt x="345" y="989"/>
                    <a:pt x="332" y="988"/>
                    <a:pt x="318" y="986"/>
                  </a:cubicBezTo>
                  <a:cubicBezTo>
                    <a:pt x="328" y="1093"/>
                    <a:pt x="315" y="1192"/>
                    <a:pt x="262" y="1282"/>
                  </a:cubicBezTo>
                  <a:cubicBezTo>
                    <a:pt x="279" y="1290"/>
                    <a:pt x="295" y="1298"/>
                    <a:pt x="311" y="1305"/>
                  </a:cubicBezTo>
                  <a:cubicBezTo>
                    <a:pt x="315" y="1307"/>
                    <a:pt x="320" y="1306"/>
                    <a:pt x="324" y="1304"/>
                  </a:cubicBezTo>
                  <a:cubicBezTo>
                    <a:pt x="340" y="1297"/>
                    <a:pt x="355" y="1288"/>
                    <a:pt x="373" y="1279"/>
                  </a:cubicBezTo>
                  <a:close/>
                  <a:moveTo>
                    <a:pt x="427" y="1653"/>
                  </a:moveTo>
                  <a:cubicBezTo>
                    <a:pt x="427" y="1651"/>
                    <a:pt x="426" y="1650"/>
                    <a:pt x="426" y="1648"/>
                  </a:cubicBezTo>
                  <a:cubicBezTo>
                    <a:pt x="425" y="1648"/>
                    <a:pt x="423" y="1647"/>
                    <a:pt x="423" y="1648"/>
                  </a:cubicBezTo>
                  <a:cubicBezTo>
                    <a:pt x="352" y="1661"/>
                    <a:pt x="284" y="1655"/>
                    <a:pt x="218" y="1628"/>
                  </a:cubicBezTo>
                  <a:cubicBezTo>
                    <a:pt x="139" y="1596"/>
                    <a:pt x="94" y="1526"/>
                    <a:pt x="93" y="1441"/>
                  </a:cubicBezTo>
                  <a:cubicBezTo>
                    <a:pt x="92" y="1393"/>
                    <a:pt x="101" y="1348"/>
                    <a:pt x="113" y="1301"/>
                  </a:cubicBezTo>
                  <a:cubicBezTo>
                    <a:pt x="102" y="1317"/>
                    <a:pt x="90" y="1333"/>
                    <a:pt x="85" y="1351"/>
                  </a:cubicBezTo>
                  <a:cubicBezTo>
                    <a:pt x="79" y="1372"/>
                    <a:pt x="78" y="1394"/>
                    <a:pt x="77" y="1416"/>
                  </a:cubicBezTo>
                  <a:cubicBezTo>
                    <a:pt x="72" y="1515"/>
                    <a:pt x="112" y="1595"/>
                    <a:pt x="186" y="1659"/>
                  </a:cubicBezTo>
                  <a:cubicBezTo>
                    <a:pt x="193" y="1665"/>
                    <a:pt x="202" y="1670"/>
                    <a:pt x="211" y="1672"/>
                  </a:cubicBezTo>
                  <a:cubicBezTo>
                    <a:pt x="254" y="1683"/>
                    <a:pt x="298" y="1686"/>
                    <a:pt x="342" y="1676"/>
                  </a:cubicBezTo>
                  <a:cubicBezTo>
                    <a:pt x="371" y="1670"/>
                    <a:pt x="399" y="1661"/>
                    <a:pt x="427" y="1653"/>
                  </a:cubicBezTo>
                  <a:close/>
                  <a:moveTo>
                    <a:pt x="483" y="1176"/>
                  </a:moveTo>
                  <a:cubicBezTo>
                    <a:pt x="487" y="1185"/>
                    <a:pt x="490" y="1195"/>
                    <a:pt x="495" y="1203"/>
                  </a:cubicBezTo>
                  <a:cubicBezTo>
                    <a:pt x="507" y="1221"/>
                    <a:pt x="520" y="1237"/>
                    <a:pt x="531" y="1255"/>
                  </a:cubicBezTo>
                  <a:cubicBezTo>
                    <a:pt x="576" y="1328"/>
                    <a:pt x="595" y="1407"/>
                    <a:pt x="577" y="1494"/>
                  </a:cubicBezTo>
                  <a:cubicBezTo>
                    <a:pt x="573" y="1513"/>
                    <a:pt x="568" y="1532"/>
                    <a:pt x="563" y="1551"/>
                  </a:cubicBezTo>
                  <a:cubicBezTo>
                    <a:pt x="565" y="1552"/>
                    <a:pt x="566" y="1553"/>
                    <a:pt x="567" y="1553"/>
                  </a:cubicBezTo>
                  <a:cubicBezTo>
                    <a:pt x="575" y="1538"/>
                    <a:pt x="584" y="1522"/>
                    <a:pt x="591" y="1506"/>
                  </a:cubicBezTo>
                  <a:cubicBezTo>
                    <a:pt x="607" y="1469"/>
                    <a:pt x="613" y="1431"/>
                    <a:pt x="605" y="1391"/>
                  </a:cubicBezTo>
                  <a:cubicBezTo>
                    <a:pt x="587" y="1307"/>
                    <a:pt x="529" y="1245"/>
                    <a:pt x="483" y="1176"/>
                  </a:cubicBezTo>
                  <a:close/>
                  <a:moveTo>
                    <a:pt x="22" y="1468"/>
                  </a:moveTo>
                  <a:cubicBezTo>
                    <a:pt x="14" y="1556"/>
                    <a:pt x="58" y="1620"/>
                    <a:pt x="121" y="1673"/>
                  </a:cubicBezTo>
                  <a:cubicBezTo>
                    <a:pt x="184" y="1726"/>
                    <a:pt x="254" y="1757"/>
                    <a:pt x="338" y="1743"/>
                  </a:cubicBezTo>
                  <a:cubicBezTo>
                    <a:pt x="328" y="1740"/>
                    <a:pt x="318" y="1739"/>
                    <a:pt x="308" y="1737"/>
                  </a:cubicBezTo>
                  <a:cubicBezTo>
                    <a:pt x="285" y="1730"/>
                    <a:pt x="261" y="1723"/>
                    <a:pt x="238" y="1717"/>
                  </a:cubicBezTo>
                  <a:cubicBezTo>
                    <a:pt x="170" y="1701"/>
                    <a:pt x="112" y="1669"/>
                    <a:pt x="74" y="1609"/>
                  </a:cubicBezTo>
                  <a:cubicBezTo>
                    <a:pt x="46" y="1567"/>
                    <a:pt x="27" y="1520"/>
                    <a:pt x="22" y="1468"/>
                  </a:cubicBezTo>
                  <a:close/>
                  <a:moveTo>
                    <a:pt x="506" y="1618"/>
                  </a:moveTo>
                  <a:cubicBezTo>
                    <a:pt x="425" y="1680"/>
                    <a:pt x="335" y="1705"/>
                    <a:pt x="233" y="1692"/>
                  </a:cubicBezTo>
                  <a:cubicBezTo>
                    <a:pt x="245" y="1700"/>
                    <a:pt x="256" y="1708"/>
                    <a:pt x="267" y="1709"/>
                  </a:cubicBezTo>
                  <a:cubicBezTo>
                    <a:pt x="303" y="1709"/>
                    <a:pt x="340" y="1709"/>
                    <a:pt x="375" y="1703"/>
                  </a:cubicBezTo>
                  <a:cubicBezTo>
                    <a:pt x="429" y="1693"/>
                    <a:pt x="474" y="1665"/>
                    <a:pt x="506" y="1618"/>
                  </a:cubicBezTo>
                  <a:close/>
                  <a:moveTo>
                    <a:pt x="61" y="1410"/>
                  </a:moveTo>
                  <a:cubicBezTo>
                    <a:pt x="60" y="1416"/>
                    <a:pt x="58" y="1422"/>
                    <a:pt x="58" y="1429"/>
                  </a:cubicBezTo>
                  <a:cubicBezTo>
                    <a:pt x="57" y="1461"/>
                    <a:pt x="57" y="1492"/>
                    <a:pt x="57" y="1524"/>
                  </a:cubicBezTo>
                  <a:cubicBezTo>
                    <a:pt x="58" y="1548"/>
                    <a:pt x="65" y="1570"/>
                    <a:pt x="80" y="1589"/>
                  </a:cubicBezTo>
                  <a:cubicBezTo>
                    <a:pt x="99" y="1614"/>
                    <a:pt x="122" y="1634"/>
                    <a:pt x="152" y="1647"/>
                  </a:cubicBezTo>
                  <a:cubicBezTo>
                    <a:pt x="87" y="1581"/>
                    <a:pt x="59" y="1501"/>
                    <a:pt x="61" y="1410"/>
                  </a:cubicBezTo>
                  <a:close/>
                  <a:moveTo>
                    <a:pt x="635" y="1473"/>
                  </a:moveTo>
                  <a:cubicBezTo>
                    <a:pt x="614" y="1570"/>
                    <a:pt x="554" y="1640"/>
                    <a:pt x="478" y="1699"/>
                  </a:cubicBezTo>
                  <a:cubicBezTo>
                    <a:pt x="560" y="1661"/>
                    <a:pt x="641" y="1576"/>
                    <a:pt x="635" y="1473"/>
                  </a:cubicBezTo>
                  <a:close/>
                  <a:moveTo>
                    <a:pt x="448" y="771"/>
                  </a:moveTo>
                  <a:cubicBezTo>
                    <a:pt x="403" y="751"/>
                    <a:pt x="269" y="736"/>
                    <a:pt x="245" y="748"/>
                  </a:cubicBezTo>
                  <a:cubicBezTo>
                    <a:pt x="310" y="768"/>
                    <a:pt x="377" y="774"/>
                    <a:pt x="448" y="771"/>
                  </a:cubicBezTo>
                  <a:close/>
                  <a:moveTo>
                    <a:pt x="340" y="733"/>
                  </a:moveTo>
                  <a:cubicBezTo>
                    <a:pt x="333" y="724"/>
                    <a:pt x="327" y="714"/>
                    <a:pt x="320" y="706"/>
                  </a:cubicBezTo>
                  <a:cubicBezTo>
                    <a:pt x="317" y="703"/>
                    <a:pt x="311" y="699"/>
                    <a:pt x="307" y="700"/>
                  </a:cubicBezTo>
                  <a:cubicBezTo>
                    <a:pt x="287" y="702"/>
                    <a:pt x="267" y="704"/>
                    <a:pt x="248" y="710"/>
                  </a:cubicBezTo>
                  <a:cubicBezTo>
                    <a:pt x="238" y="712"/>
                    <a:pt x="230" y="721"/>
                    <a:pt x="222" y="727"/>
                  </a:cubicBezTo>
                  <a:cubicBezTo>
                    <a:pt x="223" y="729"/>
                    <a:pt x="224" y="731"/>
                    <a:pt x="225" y="733"/>
                  </a:cubicBezTo>
                  <a:cubicBezTo>
                    <a:pt x="263" y="733"/>
                    <a:pt x="302" y="733"/>
                    <a:pt x="340" y="733"/>
                  </a:cubicBezTo>
                  <a:close/>
                  <a:moveTo>
                    <a:pt x="390" y="1292"/>
                  </a:moveTo>
                  <a:cubicBezTo>
                    <a:pt x="395" y="1302"/>
                    <a:pt x="399" y="1312"/>
                    <a:pt x="405" y="1321"/>
                  </a:cubicBezTo>
                  <a:cubicBezTo>
                    <a:pt x="414" y="1335"/>
                    <a:pt x="427" y="1343"/>
                    <a:pt x="444" y="1343"/>
                  </a:cubicBezTo>
                  <a:cubicBezTo>
                    <a:pt x="459" y="1342"/>
                    <a:pt x="463" y="1335"/>
                    <a:pt x="458" y="1322"/>
                  </a:cubicBezTo>
                  <a:cubicBezTo>
                    <a:pt x="448" y="1298"/>
                    <a:pt x="422" y="1286"/>
                    <a:pt x="390" y="1292"/>
                  </a:cubicBezTo>
                  <a:close/>
                  <a:moveTo>
                    <a:pt x="445" y="867"/>
                  </a:moveTo>
                  <a:cubicBezTo>
                    <a:pt x="415" y="850"/>
                    <a:pt x="307" y="836"/>
                    <a:pt x="277" y="845"/>
                  </a:cubicBezTo>
                  <a:cubicBezTo>
                    <a:pt x="333" y="859"/>
                    <a:pt x="388" y="873"/>
                    <a:pt x="445" y="867"/>
                  </a:cubicBezTo>
                  <a:close/>
                  <a:moveTo>
                    <a:pt x="269" y="795"/>
                  </a:moveTo>
                  <a:cubicBezTo>
                    <a:pt x="323" y="814"/>
                    <a:pt x="379" y="818"/>
                    <a:pt x="435" y="817"/>
                  </a:cubicBezTo>
                  <a:cubicBezTo>
                    <a:pt x="381" y="798"/>
                    <a:pt x="326" y="793"/>
                    <a:pt x="269" y="795"/>
                  </a:cubicBezTo>
                  <a:close/>
                  <a:moveTo>
                    <a:pt x="212" y="851"/>
                  </a:moveTo>
                  <a:cubicBezTo>
                    <a:pt x="229" y="880"/>
                    <a:pt x="289" y="890"/>
                    <a:pt x="328" y="872"/>
                  </a:cubicBezTo>
                  <a:cubicBezTo>
                    <a:pt x="298" y="863"/>
                    <a:pt x="268" y="854"/>
                    <a:pt x="238" y="846"/>
                  </a:cubicBezTo>
                  <a:cubicBezTo>
                    <a:pt x="230" y="845"/>
                    <a:pt x="221" y="849"/>
                    <a:pt x="212" y="851"/>
                  </a:cubicBezTo>
                  <a:close/>
                  <a:moveTo>
                    <a:pt x="550" y="1536"/>
                  </a:moveTo>
                  <a:cubicBezTo>
                    <a:pt x="588" y="1443"/>
                    <a:pt x="569" y="1325"/>
                    <a:pt x="513" y="1258"/>
                  </a:cubicBezTo>
                  <a:cubicBezTo>
                    <a:pt x="556" y="1346"/>
                    <a:pt x="582" y="1437"/>
                    <a:pt x="550" y="1536"/>
                  </a:cubicBezTo>
                  <a:close/>
                  <a:moveTo>
                    <a:pt x="222" y="1012"/>
                  </a:moveTo>
                  <a:cubicBezTo>
                    <a:pt x="186" y="1057"/>
                    <a:pt x="200" y="1112"/>
                    <a:pt x="185" y="1160"/>
                  </a:cubicBezTo>
                  <a:cubicBezTo>
                    <a:pt x="222" y="1118"/>
                    <a:pt x="212" y="1064"/>
                    <a:pt x="222" y="1012"/>
                  </a:cubicBezTo>
                  <a:close/>
                  <a:moveTo>
                    <a:pt x="178" y="1023"/>
                  </a:moveTo>
                  <a:cubicBezTo>
                    <a:pt x="161" y="1090"/>
                    <a:pt x="145" y="1153"/>
                    <a:pt x="128" y="1219"/>
                  </a:cubicBezTo>
                  <a:cubicBezTo>
                    <a:pt x="157" y="1156"/>
                    <a:pt x="186" y="1096"/>
                    <a:pt x="178" y="1023"/>
                  </a:cubicBezTo>
                  <a:close/>
                  <a:moveTo>
                    <a:pt x="311" y="780"/>
                  </a:moveTo>
                  <a:cubicBezTo>
                    <a:pt x="285" y="771"/>
                    <a:pt x="254" y="761"/>
                    <a:pt x="222" y="751"/>
                  </a:cubicBezTo>
                  <a:cubicBezTo>
                    <a:pt x="220" y="750"/>
                    <a:pt x="215" y="752"/>
                    <a:pt x="214" y="754"/>
                  </a:cubicBezTo>
                  <a:cubicBezTo>
                    <a:pt x="213" y="757"/>
                    <a:pt x="211" y="764"/>
                    <a:pt x="213" y="765"/>
                  </a:cubicBezTo>
                  <a:cubicBezTo>
                    <a:pt x="223" y="772"/>
                    <a:pt x="234" y="782"/>
                    <a:pt x="245" y="783"/>
                  </a:cubicBezTo>
                  <a:cubicBezTo>
                    <a:pt x="269" y="785"/>
                    <a:pt x="293" y="781"/>
                    <a:pt x="311" y="780"/>
                  </a:cubicBezTo>
                  <a:close/>
                  <a:moveTo>
                    <a:pt x="435" y="900"/>
                  </a:moveTo>
                  <a:cubicBezTo>
                    <a:pt x="392" y="882"/>
                    <a:pt x="346" y="892"/>
                    <a:pt x="302" y="890"/>
                  </a:cubicBezTo>
                  <a:cubicBezTo>
                    <a:pt x="346" y="900"/>
                    <a:pt x="390" y="909"/>
                    <a:pt x="435" y="900"/>
                  </a:cubicBezTo>
                  <a:close/>
                  <a:moveTo>
                    <a:pt x="299" y="941"/>
                  </a:moveTo>
                  <a:cubicBezTo>
                    <a:pt x="292" y="939"/>
                    <a:pt x="291" y="939"/>
                    <a:pt x="289" y="939"/>
                  </a:cubicBezTo>
                  <a:cubicBezTo>
                    <a:pt x="253" y="941"/>
                    <a:pt x="226" y="960"/>
                    <a:pt x="203" y="986"/>
                  </a:cubicBezTo>
                  <a:cubicBezTo>
                    <a:pt x="195" y="994"/>
                    <a:pt x="196" y="1011"/>
                    <a:pt x="193" y="1024"/>
                  </a:cubicBezTo>
                  <a:cubicBezTo>
                    <a:pt x="194" y="1025"/>
                    <a:pt x="196" y="1025"/>
                    <a:pt x="198" y="1026"/>
                  </a:cubicBezTo>
                  <a:cubicBezTo>
                    <a:pt x="216" y="982"/>
                    <a:pt x="248" y="953"/>
                    <a:pt x="299" y="941"/>
                  </a:cubicBezTo>
                  <a:close/>
                  <a:moveTo>
                    <a:pt x="40" y="1481"/>
                  </a:moveTo>
                  <a:cubicBezTo>
                    <a:pt x="39" y="1425"/>
                    <a:pt x="52" y="1372"/>
                    <a:pt x="77" y="1322"/>
                  </a:cubicBezTo>
                  <a:cubicBezTo>
                    <a:pt x="41" y="1359"/>
                    <a:pt x="27" y="1423"/>
                    <a:pt x="40" y="1481"/>
                  </a:cubicBezTo>
                  <a:close/>
                  <a:moveTo>
                    <a:pt x="334" y="700"/>
                  </a:moveTo>
                  <a:cubicBezTo>
                    <a:pt x="344" y="722"/>
                    <a:pt x="373" y="735"/>
                    <a:pt x="390" y="728"/>
                  </a:cubicBezTo>
                  <a:cubicBezTo>
                    <a:pt x="393" y="727"/>
                    <a:pt x="396" y="723"/>
                    <a:pt x="398" y="720"/>
                  </a:cubicBezTo>
                  <a:cubicBezTo>
                    <a:pt x="396" y="717"/>
                    <a:pt x="393" y="713"/>
                    <a:pt x="390" y="712"/>
                  </a:cubicBezTo>
                  <a:cubicBezTo>
                    <a:pt x="372" y="708"/>
                    <a:pt x="354" y="704"/>
                    <a:pt x="334" y="700"/>
                  </a:cubicBezTo>
                  <a:close/>
                  <a:moveTo>
                    <a:pt x="466" y="1064"/>
                  </a:moveTo>
                  <a:cubicBezTo>
                    <a:pt x="467" y="1063"/>
                    <a:pt x="469" y="1063"/>
                    <a:pt x="471" y="1063"/>
                  </a:cubicBezTo>
                  <a:cubicBezTo>
                    <a:pt x="473" y="1031"/>
                    <a:pt x="467" y="1003"/>
                    <a:pt x="446" y="978"/>
                  </a:cubicBezTo>
                  <a:cubicBezTo>
                    <a:pt x="445" y="979"/>
                    <a:pt x="443" y="980"/>
                    <a:pt x="441" y="980"/>
                  </a:cubicBezTo>
                  <a:cubicBezTo>
                    <a:pt x="449" y="1008"/>
                    <a:pt x="458" y="1036"/>
                    <a:pt x="466" y="1064"/>
                  </a:cubicBezTo>
                  <a:close/>
                  <a:moveTo>
                    <a:pt x="215" y="903"/>
                  </a:moveTo>
                  <a:cubicBezTo>
                    <a:pt x="238" y="918"/>
                    <a:pt x="259" y="917"/>
                    <a:pt x="285" y="903"/>
                  </a:cubicBezTo>
                  <a:cubicBezTo>
                    <a:pt x="262" y="892"/>
                    <a:pt x="239" y="892"/>
                    <a:pt x="215" y="903"/>
                  </a:cubicBezTo>
                  <a:close/>
                  <a:moveTo>
                    <a:pt x="199" y="1324"/>
                  </a:moveTo>
                  <a:cubicBezTo>
                    <a:pt x="213" y="1313"/>
                    <a:pt x="225" y="1303"/>
                    <a:pt x="240" y="1291"/>
                  </a:cubicBezTo>
                  <a:cubicBezTo>
                    <a:pt x="199" y="1285"/>
                    <a:pt x="186" y="1294"/>
                    <a:pt x="199" y="1324"/>
                  </a:cubicBezTo>
                  <a:close/>
                  <a:moveTo>
                    <a:pt x="232" y="1061"/>
                  </a:moveTo>
                  <a:cubicBezTo>
                    <a:pt x="243" y="1027"/>
                    <a:pt x="249" y="995"/>
                    <a:pt x="286" y="978"/>
                  </a:cubicBezTo>
                  <a:cubicBezTo>
                    <a:pt x="244" y="986"/>
                    <a:pt x="229" y="1011"/>
                    <a:pt x="232" y="1061"/>
                  </a:cubicBezTo>
                  <a:close/>
                  <a:moveTo>
                    <a:pt x="319" y="1329"/>
                  </a:moveTo>
                  <a:cubicBezTo>
                    <a:pt x="300" y="1346"/>
                    <a:pt x="297" y="1363"/>
                    <a:pt x="310" y="1374"/>
                  </a:cubicBezTo>
                  <a:cubicBezTo>
                    <a:pt x="312" y="1376"/>
                    <a:pt x="316" y="1378"/>
                    <a:pt x="318" y="1378"/>
                  </a:cubicBezTo>
                  <a:cubicBezTo>
                    <a:pt x="320" y="1377"/>
                    <a:pt x="323" y="1373"/>
                    <a:pt x="323" y="1370"/>
                  </a:cubicBezTo>
                  <a:cubicBezTo>
                    <a:pt x="322" y="1357"/>
                    <a:pt x="321" y="1345"/>
                    <a:pt x="319" y="1329"/>
                  </a:cubicBezTo>
                  <a:close/>
                  <a:moveTo>
                    <a:pt x="284" y="923"/>
                  </a:moveTo>
                  <a:cubicBezTo>
                    <a:pt x="311" y="926"/>
                    <a:pt x="338" y="930"/>
                    <a:pt x="364" y="933"/>
                  </a:cubicBezTo>
                  <a:cubicBezTo>
                    <a:pt x="365" y="931"/>
                    <a:pt x="365" y="929"/>
                    <a:pt x="365" y="927"/>
                  </a:cubicBezTo>
                  <a:cubicBezTo>
                    <a:pt x="339" y="921"/>
                    <a:pt x="313" y="912"/>
                    <a:pt x="284" y="923"/>
                  </a:cubicBezTo>
                  <a:close/>
                  <a:moveTo>
                    <a:pt x="566" y="1246"/>
                  </a:moveTo>
                  <a:cubicBezTo>
                    <a:pt x="584" y="1279"/>
                    <a:pt x="602" y="1312"/>
                    <a:pt x="620" y="1345"/>
                  </a:cubicBezTo>
                  <a:cubicBezTo>
                    <a:pt x="620" y="1324"/>
                    <a:pt x="597" y="1280"/>
                    <a:pt x="566" y="1246"/>
                  </a:cubicBezTo>
                  <a:close/>
                  <a:moveTo>
                    <a:pt x="506" y="1176"/>
                  </a:moveTo>
                  <a:cubicBezTo>
                    <a:pt x="488" y="1139"/>
                    <a:pt x="470" y="1102"/>
                    <a:pt x="453" y="1065"/>
                  </a:cubicBezTo>
                  <a:cubicBezTo>
                    <a:pt x="462" y="1106"/>
                    <a:pt x="484" y="1142"/>
                    <a:pt x="506" y="1176"/>
                  </a:cubicBezTo>
                  <a:close/>
                  <a:moveTo>
                    <a:pt x="95" y="1293"/>
                  </a:moveTo>
                  <a:cubicBezTo>
                    <a:pt x="97" y="1294"/>
                    <a:pt x="99" y="1296"/>
                    <a:pt x="101" y="1297"/>
                  </a:cubicBezTo>
                  <a:cubicBezTo>
                    <a:pt x="116" y="1273"/>
                    <a:pt x="130" y="1250"/>
                    <a:pt x="144" y="1227"/>
                  </a:cubicBezTo>
                  <a:cubicBezTo>
                    <a:pt x="143" y="1226"/>
                    <a:pt x="141" y="1225"/>
                    <a:pt x="139" y="1224"/>
                  </a:cubicBezTo>
                  <a:cubicBezTo>
                    <a:pt x="125" y="1247"/>
                    <a:pt x="110" y="1270"/>
                    <a:pt x="95" y="1293"/>
                  </a:cubicBezTo>
                  <a:close/>
                  <a:moveTo>
                    <a:pt x="286" y="960"/>
                  </a:moveTo>
                  <a:cubicBezTo>
                    <a:pt x="308" y="958"/>
                    <a:pt x="329" y="957"/>
                    <a:pt x="351" y="956"/>
                  </a:cubicBezTo>
                  <a:cubicBezTo>
                    <a:pt x="328" y="941"/>
                    <a:pt x="307" y="954"/>
                    <a:pt x="286" y="960"/>
                  </a:cubicBezTo>
                  <a:close/>
                  <a:moveTo>
                    <a:pt x="145" y="1661"/>
                  </a:moveTo>
                  <a:cubicBezTo>
                    <a:pt x="145" y="1662"/>
                    <a:pt x="144" y="1663"/>
                    <a:pt x="143" y="1665"/>
                  </a:cubicBezTo>
                  <a:cubicBezTo>
                    <a:pt x="163" y="1675"/>
                    <a:pt x="183" y="1684"/>
                    <a:pt x="204" y="1694"/>
                  </a:cubicBezTo>
                  <a:cubicBezTo>
                    <a:pt x="204" y="1693"/>
                    <a:pt x="205" y="1691"/>
                    <a:pt x="206" y="1689"/>
                  </a:cubicBezTo>
                  <a:cubicBezTo>
                    <a:pt x="186" y="1680"/>
                    <a:pt x="166" y="1670"/>
                    <a:pt x="145" y="1661"/>
                  </a:cubicBezTo>
                  <a:close/>
                  <a:moveTo>
                    <a:pt x="304" y="971"/>
                  </a:moveTo>
                  <a:cubicBezTo>
                    <a:pt x="304" y="973"/>
                    <a:pt x="303" y="974"/>
                    <a:pt x="303" y="975"/>
                  </a:cubicBezTo>
                  <a:cubicBezTo>
                    <a:pt x="322" y="975"/>
                    <a:pt x="341" y="975"/>
                    <a:pt x="360" y="975"/>
                  </a:cubicBezTo>
                  <a:cubicBezTo>
                    <a:pt x="360" y="974"/>
                    <a:pt x="360" y="973"/>
                    <a:pt x="360" y="971"/>
                  </a:cubicBezTo>
                  <a:cubicBezTo>
                    <a:pt x="341" y="971"/>
                    <a:pt x="323" y="971"/>
                    <a:pt x="304" y="971"/>
                  </a:cubicBezTo>
                  <a:close/>
                  <a:moveTo>
                    <a:pt x="90" y="1273"/>
                  </a:moveTo>
                  <a:cubicBezTo>
                    <a:pt x="88" y="1272"/>
                    <a:pt x="87" y="1271"/>
                    <a:pt x="86" y="1270"/>
                  </a:cubicBezTo>
                  <a:cubicBezTo>
                    <a:pt x="76" y="1285"/>
                    <a:pt x="66" y="1300"/>
                    <a:pt x="56" y="1316"/>
                  </a:cubicBezTo>
                  <a:cubicBezTo>
                    <a:pt x="57" y="1317"/>
                    <a:pt x="58" y="1317"/>
                    <a:pt x="59" y="1318"/>
                  </a:cubicBezTo>
                  <a:cubicBezTo>
                    <a:pt x="69" y="1303"/>
                    <a:pt x="79" y="1288"/>
                    <a:pt x="90" y="127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4000">
                  <a:schemeClr val="tx2"/>
                </a:gs>
                <a:gs pos="29000">
                  <a:schemeClr val="accent1"/>
                </a:gs>
                <a:gs pos="100000">
                  <a:schemeClr val="accent5"/>
                </a:gs>
                <a:gs pos="82000">
                  <a:schemeClr val="accent4"/>
                </a:gs>
                <a:gs pos="65000">
                  <a:schemeClr val="accent3"/>
                </a:gs>
                <a:gs pos="48000">
                  <a:schemeClr val="accent2"/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id="{1AE0E9EC-DE51-4264-836B-3CC19D44E30A}"/>
                </a:ext>
              </a:extLst>
            </p:cNvPr>
            <p:cNvGrpSpPr/>
            <p:nvPr userDrawn="1"/>
          </p:nvGrpSpPr>
          <p:grpSpPr>
            <a:xfrm>
              <a:off x="7196333" y="7934"/>
              <a:ext cx="2417476" cy="4038212"/>
              <a:chOff x="6532130" y="27309"/>
              <a:chExt cx="2822982" cy="4674312"/>
            </a:xfrm>
          </p:grpSpPr>
          <p:sp>
            <p:nvSpPr>
              <p:cNvPr id="22" name="Freeform 3177">
                <a:extLst>
                  <a:ext uri="{FF2B5EF4-FFF2-40B4-BE49-F238E27FC236}">
                    <a16:creationId xmlns:a16="http://schemas.microsoft.com/office/drawing/2014/main" id="{72BEFBDC-C7AF-47FD-B94C-B20D1709ED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46484" y="799241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" name="Freeform 3178">
                <a:extLst>
                  <a:ext uri="{FF2B5EF4-FFF2-40B4-BE49-F238E27FC236}">
                    <a16:creationId xmlns:a16="http://schemas.microsoft.com/office/drawing/2014/main" id="{B95EDBCD-0C9A-4B0A-BBB2-6B32767021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48145" y="315004"/>
                <a:ext cx="37219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" name="Freeform 3179">
                <a:extLst>
                  <a:ext uri="{FF2B5EF4-FFF2-40B4-BE49-F238E27FC236}">
                    <a16:creationId xmlns:a16="http://schemas.microsoft.com/office/drawing/2014/main" id="{16A3FCB9-3974-4726-8292-D2F94449DA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17231" y="81429"/>
                <a:ext cx="40083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" name="Freeform 3180">
                <a:extLst>
                  <a:ext uri="{FF2B5EF4-FFF2-40B4-BE49-F238E27FC236}">
                    <a16:creationId xmlns:a16="http://schemas.microsoft.com/office/drawing/2014/main" id="{ED6F012D-87ED-4775-AC98-F78172BDEE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341587" y="784998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6" name="Freeform 3181">
                <a:extLst>
                  <a:ext uri="{FF2B5EF4-FFF2-40B4-BE49-F238E27FC236}">
                    <a16:creationId xmlns:a16="http://schemas.microsoft.com/office/drawing/2014/main" id="{0719829D-0E0D-445C-9F68-B6A3711360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28681" y="426092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" name="Freeform 3182">
                <a:extLst>
                  <a:ext uri="{FF2B5EF4-FFF2-40B4-BE49-F238E27FC236}">
                    <a16:creationId xmlns:a16="http://schemas.microsoft.com/office/drawing/2014/main" id="{B915B99B-5626-430A-8CC1-D35E828232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46484" y="799241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8" name="Freeform 3183">
                <a:extLst>
                  <a:ext uri="{FF2B5EF4-FFF2-40B4-BE49-F238E27FC236}">
                    <a16:creationId xmlns:a16="http://schemas.microsoft.com/office/drawing/2014/main" id="{357EE1C3-4317-485F-97FD-562A4FF8FB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164076" y="55794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9" name="Freeform 3184">
                <a:extLst>
                  <a:ext uri="{FF2B5EF4-FFF2-40B4-BE49-F238E27FC236}">
                    <a16:creationId xmlns:a16="http://schemas.microsoft.com/office/drawing/2014/main" id="{72AC8B17-B395-4B06-A5C5-15389DE6C5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28681" y="426092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0" name="Freeform 3185">
                <a:extLst>
                  <a:ext uri="{FF2B5EF4-FFF2-40B4-BE49-F238E27FC236}">
                    <a16:creationId xmlns:a16="http://schemas.microsoft.com/office/drawing/2014/main" id="{22F4879B-340A-4FE3-87DC-FD1CCEFCA4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48145" y="315004"/>
                <a:ext cx="37219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1" name="Freeform 3186">
                <a:extLst>
                  <a:ext uri="{FF2B5EF4-FFF2-40B4-BE49-F238E27FC236}">
                    <a16:creationId xmlns:a16="http://schemas.microsoft.com/office/drawing/2014/main" id="{07958BC8-2DF2-47D3-94CB-5814FC5B09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438932" y="27309"/>
                <a:ext cx="37219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2" name="Freeform 3187">
                <a:extLst>
                  <a:ext uri="{FF2B5EF4-FFF2-40B4-BE49-F238E27FC236}">
                    <a16:creationId xmlns:a16="http://schemas.microsoft.com/office/drawing/2014/main" id="{CFB36A0D-073E-4534-BF6F-648035C189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59597" y="568516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" name="Freeform 3188">
                <a:extLst>
                  <a:ext uri="{FF2B5EF4-FFF2-40B4-BE49-F238E27FC236}">
                    <a16:creationId xmlns:a16="http://schemas.microsoft.com/office/drawing/2014/main" id="{E97412D8-24DA-4DC2-B37E-D32D530C32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341587" y="784996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" name="Freeform 3189">
                <a:extLst>
                  <a:ext uri="{FF2B5EF4-FFF2-40B4-BE49-F238E27FC236}">
                    <a16:creationId xmlns:a16="http://schemas.microsoft.com/office/drawing/2014/main" id="{11092524-8E3B-49C3-AE7B-908B3894A1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65321" y="793544"/>
                <a:ext cx="40083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" name="Freeform 3190">
                <a:extLst>
                  <a:ext uri="{FF2B5EF4-FFF2-40B4-BE49-F238E27FC236}">
                    <a16:creationId xmlns:a16="http://schemas.microsoft.com/office/drawing/2014/main" id="{655D3D75-C96F-43B3-A78E-91419539864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59597" y="568516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" name="Freeform 3191">
                <a:extLst>
                  <a:ext uri="{FF2B5EF4-FFF2-40B4-BE49-F238E27FC236}">
                    <a16:creationId xmlns:a16="http://schemas.microsoft.com/office/drawing/2014/main" id="{F7A7273E-DB4C-4776-AA4D-BB8B2D6973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48145" y="315004"/>
                <a:ext cx="37219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" name="Freeform 3192">
                <a:extLst>
                  <a:ext uri="{FF2B5EF4-FFF2-40B4-BE49-F238E27FC236}">
                    <a16:creationId xmlns:a16="http://schemas.microsoft.com/office/drawing/2014/main" id="{C331D79C-A4EE-482D-AC1F-E421F834C3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17231" y="81429"/>
                <a:ext cx="40083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" name="Freeform 3193">
                <a:extLst>
                  <a:ext uri="{FF2B5EF4-FFF2-40B4-BE49-F238E27FC236}">
                    <a16:creationId xmlns:a16="http://schemas.microsoft.com/office/drawing/2014/main" id="{C2A98DB7-D2B7-4164-9AB1-70D15DA07F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46484" y="799241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" name="Freeform 3194">
                <a:extLst>
                  <a:ext uri="{FF2B5EF4-FFF2-40B4-BE49-F238E27FC236}">
                    <a16:creationId xmlns:a16="http://schemas.microsoft.com/office/drawing/2014/main" id="{5242710F-A9F4-45B5-9840-510E542A2F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252833" y="1126811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" name="Freeform 3195">
                <a:extLst>
                  <a:ext uri="{FF2B5EF4-FFF2-40B4-BE49-F238E27FC236}">
                    <a16:creationId xmlns:a16="http://schemas.microsoft.com/office/drawing/2014/main" id="{5B0A0BCD-11E7-4555-91B5-24F6BC905E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42623" y="910329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" name="Freeform 3196">
                <a:extLst>
                  <a:ext uri="{FF2B5EF4-FFF2-40B4-BE49-F238E27FC236}">
                    <a16:creationId xmlns:a16="http://schemas.microsoft.com/office/drawing/2014/main" id="{CE73696F-851B-48AA-AD27-7944E0F961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19886" y="1109720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" name="Freeform 3197">
                <a:extLst>
                  <a:ext uri="{FF2B5EF4-FFF2-40B4-BE49-F238E27FC236}">
                    <a16:creationId xmlns:a16="http://schemas.microsoft.com/office/drawing/2014/main" id="{0E807584-3F64-4E09-841C-1C884DD88B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46484" y="799241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" name="Freeform 3198">
                <a:extLst>
                  <a:ext uri="{FF2B5EF4-FFF2-40B4-BE49-F238E27FC236}">
                    <a16:creationId xmlns:a16="http://schemas.microsoft.com/office/drawing/2014/main" id="{133DF2B2-24E2-43A2-911A-945F972597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02708" y="910329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4" name="Freeform 3199">
                <a:extLst>
                  <a:ext uri="{FF2B5EF4-FFF2-40B4-BE49-F238E27FC236}">
                    <a16:creationId xmlns:a16="http://schemas.microsoft.com/office/drawing/2014/main" id="{33A2D7E7-81B1-41D4-879B-112C989898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42623" y="910329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5" name="Freeform 3200">
                <a:extLst>
                  <a:ext uri="{FF2B5EF4-FFF2-40B4-BE49-F238E27FC236}">
                    <a16:creationId xmlns:a16="http://schemas.microsoft.com/office/drawing/2014/main" id="{EDF5F99C-FCFE-47A2-AC72-C01F51CDA1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341587" y="784996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6" name="Freeform 3201">
                <a:extLst>
                  <a:ext uri="{FF2B5EF4-FFF2-40B4-BE49-F238E27FC236}">
                    <a16:creationId xmlns:a16="http://schemas.microsoft.com/office/drawing/2014/main" id="{9D4D93DE-3098-403C-9515-95DC8CE056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68394" y="1126811"/>
                <a:ext cx="42945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7" name="Freeform 3202">
                <a:extLst>
                  <a:ext uri="{FF2B5EF4-FFF2-40B4-BE49-F238E27FC236}">
                    <a16:creationId xmlns:a16="http://schemas.microsoft.com/office/drawing/2014/main" id="{63234868-4F06-49BE-821E-68AC1CAC79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341587" y="784996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8" name="Freeform 3203">
                <a:extLst>
                  <a:ext uri="{FF2B5EF4-FFF2-40B4-BE49-F238E27FC236}">
                    <a16:creationId xmlns:a16="http://schemas.microsoft.com/office/drawing/2014/main" id="{9D479FBE-9BD7-46B4-866D-B8C70BB63B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57312" y="1141055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9" name="Freeform 3204">
                <a:extLst>
                  <a:ext uri="{FF2B5EF4-FFF2-40B4-BE49-F238E27FC236}">
                    <a16:creationId xmlns:a16="http://schemas.microsoft.com/office/drawing/2014/main" id="{C8942BE7-6132-4FFF-994C-CCBABCB8B5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02708" y="910329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0" name="Freeform 3205">
                <a:extLst>
                  <a:ext uri="{FF2B5EF4-FFF2-40B4-BE49-F238E27FC236}">
                    <a16:creationId xmlns:a16="http://schemas.microsoft.com/office/drawing/2014/main" id="{70E2624A-08F7-4E3B-A0E9-AE3D6DE3E9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57312" y="1141055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1" name="Freeform 3206">
                <a:extLst>
                  <a:ext uri="{FF2B5EF4-FFF2-40B4-BE49-F238E27FC236}">
                    <a16:creationId xmlns:a16="http://schemas.microsoft.com/office/drawing/2014/main" id="{A3E768C2-C684-4958-B6E2-591117A8B5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65321" y="793544"/>
                <a:ext cx="40083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2" name="Freeform 3207">
                <a:extLst>
                  <a:ext uri="{FF2B5EF4-FFF2-40B4-BE49-F238E27FC236}">
                    <a16:creationId xmlns:a16="http://schemas.microsoft.com/office/drawing/2014/main" id="{29F41F2C-EB59-43EF-A89D-A470AC0347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341587" y="784996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3" name="Freeform 3208">
                <a:extLst>
                  <a:ext uri="{FF2B5EF4-FFF2-40B4-BE49-F238E27FC236}">
                    <a16:creationId xmlns:a16="http://schemas.microsoft.com/office/drawing/2014/main" id="{B8A6F303-BB8C-410A-8486-A28F4DA120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117479" y="901784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4" name="Freeform 3209">
                <a:extLst>
                  <a:ext uri="{FF2B5EF4-FFF2-40B4-BE49-F238E27FC236}">
                    <a16:creationId xmlns:a16="http://schemas.microsoft.com/office/drawing/2014/main" id="{593CB0D0-71EA-46B8-9D43-E70A4F72A9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65321" y="793544"/>
                <a:ext cx="40083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" name="Freeform 3210">
                <a:extLst>
                  <a:ext uri="{FF2B5EF4-FFF2-40B4-BE49-F238E27FC236}">
                    <a16:creationId xmlns:a16="http://schemas.microsoft.com/office/drawing/2014/main" id="{AF29BEAF-1E9D-42CA-9851-DA5A943A7A5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42623" y="910329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6" name="Freeform 3211">
                <a:extLst>
                  <a:ext uri="{FF2B5EF4-FFF2-40B4-BE49-F238E27FC236}">
                    <a16:creationId xmlns:a16="http://schemas.microsoft.com/office/drawing/2014/main" id="{C6D13710-3B43-406A-AEBD-BD56B0AD0A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39554" y="1135358"/>
                <a:ext cx="40083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7" name="Freeform 3212">
                <a:extLst>
                  <a:ext uri="{FF2B5EF4-FFF2-40B4-BE49-F238E27FC236}">
                    <a16:creationId xmlns:a16="http://schemas.microsoft.com/office/drawing/2014/main" id="{85EC4BEC-2B7C-4EF0-A55A-FA75595108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68394" y="1126811"/>
                <a:ext cx="42945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" name="Freeform 3213">
                <a:extLst>
                  <a:ext uri="{FF2B5EF4-FFF2-40B4-BE49-F238E27FC236}">
                    <a16:creationId xmlns:a16="http://schemas.microsoft.com/office/drawing/2014/main" id="{BE66A645-D145-473E-A411-324B1413DC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42623" y="910329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9" name="Freeform 3214">
                <a:extLst>
                  <a:ext uri="{FF2B5EF4-FFF2-40B4-BE49-F238E27FC236}">
                    <a16:creationId xmlns:a16="http://schemas.microsoft.com/office/drawing/2014/main" id="{CFF4D5E1-69F3-405C-A899-EFBD605CCB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117479" y="901784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" name="Freeform 3215">
                <a:extLst>
                  <a:ext uri="{FF2B5EF4-FFF2-40B4-BE49-F238E27FC236}">
                    <a16:creationId xmlns:a16="http://schemas.microsoft.com/office/drawing/2014/main" id="{6B4EEA79-13FA-4800-B105-8E1103B97E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65528" y="793544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" name="Freeform 3216">
                <a:extLst>
                  <a:ext uri="{FF2B5EF4-FFF2-40B4-BE49-F238E27FC236}">
                    <a16:creationId xmlns:a16="http://schemas.microsoft.com/office/drawing/2014/main" id="{0994AD48-AEE3-4639-8108-E9A1D207F2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65321" y="793544"/>
                <a:ext cx="40083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" name="Freeform 3217">
                <a:extLst>
                  <a:ext uri="{FF2B5EF4-FFF2-40B4-BE49-F238E27FC236}">
                    <a16:creationId xmlns:a16="http://schemas.microsoft.com/office/drawing/2014/main" id="{E39019ED-2842-4FD2-B88C-C82DAE31E7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25819" y="1727837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3" name="Freeform 3218">
                <a:extLst>
                  <a:ext uri="{FF2B5EF4-FFF2-40B4-BE49-F238E27FC236}">
                    <a16:creationId xmlns:a16="http://schemas.microsoft.com/office/drawing/2014/main" id="{96E99ED2-24A5-489A-86F3-469BF9A25D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00052" y="1653776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4" name="Freeform 3219">
                <a:extLst>
                  <a:ext uri="{FF2B5EF4-FFF2-40B4-BE49-F238E27FC236}">
                    <a16:creationId xmlns:a16="http://schemas.microsoft.com/office/drawing/2014/main" id="{CC8C7DAF-B78E-44CD-AE78-C37F31DF42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56733" y="1682261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5" name="Freeform 3220">
                <a:extLst>
                  <a:ext uri="{FF2B5EF4-FFF2-40B4-BE49-F238E27FC236}">
                    <a16:creationId xmlns:a16="http://schemas.microsoft.com/office/drawing/2014/main" id="{4C27CEA9-D074-4517-A153-F75AA82163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56733" y="1611048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6" name="Freeform 3221">
                <a:extLst>
                  <a:ext uri="{FF2B5EF4-FFF2-40B4-BE49-F238E27FC236}">
                    <a16:creationId xmlns:a16="http://schemas.microsoft.com/office/drawing/2014/main" id="{732E8CC2-5086-45F8-8ED5-AE3374429C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57105" y="1574019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7" name="Freeform 3222">
                <a:extLst>
                  <a:ext uri="{FF2B5EF4-FFF2-40B4-BE49-F238E27FC236}">
                    <a16:creationId xmlns:a16="http://schemas.microsoft.com/office/drawing/2014/main" id="{9754D47A-6CC1-4A4B-9817-476BF09D7C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65321" y="1460082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8" name="Freeform 3223">
                <a:extLst>
                  <a:ext uri="{FF2B5EF4-FFF2-40B4-BE49-F238E27FC236}">
                    <a16:creationId xmlns:a16="http://schemas.microsoft.com/office/drawing/2014/main" id="{B8C2B514-A272-4307-8E57-58E80DC045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00052" y="1653776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9" name="Freeform 3224">
                <a:extLst>
                  <a:ext uri="{FF2B5EF4-FFF2-40B4-BE49-F238E27FC236}">
                    <a16:creationId xmlns:a16="http://schemas.microsoft.com/office/drawing/2014/main" id="{60D92F27-AEB1-4C32-9BA0-9E4E007C79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96814" y="1554081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0" name="Freeform 3225">
                <a:extLst>
                  <a:ext uri="{FF2B5EF4-FFF2-40B4-BE49-F238E27FC236}">
                    <a16:creationId xmlns:a16="http://schemas.microsoft.com/office/drawing/2014/main" id="{A97932E6-8C67-4752-8CDB-3E75A952E8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28681" y="1374628"/>
                <a:ext cx="42945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1" name="Freeform 3226">
                <a:extLst>
                  <a:ext uri="{FF2B5EF4-FFF2-40B4-BE49-F238E27FC236}">
                    <a16:creationId xmlns:a16="http://schemas.microsoft.com/office/drawing/2014/main" id="{2749FEA8-C415-40E3-B44B-3B2BE5702A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11130" y="1411657"/>
                <a:ext cx="40083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2" name="Freeform 3227">
                <a:extLst>
                  <a:ext uri="{FF2B5EF4-FFF2-40B4-BE49-F238E27FC236}">
                    <a16:creationId xmlns:a16="http://schemas.microsoft.com/office/drawing/2014/main" id="{74853726-82B5-4BBE-B96D-BBD4AA32AB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11505" y="1502806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3" name="Freeform 3228">
                <a:extLst>
                  <a:ext uri="{FF2B5EF4-FFF2-40B4-BE49-F238E27FC236}">
                    <a16:creationId xmlns:a16="http://schemas.microsoft.com/office/drawing/2014/main" id="{079734AB-480C-4C4F-AE79-2147660AE6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65321" y="1460082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4" name="Freeform 3229">
                <a:extLst>
                  <a:ext uri="{FF2B5EF4-FFF2-40B4-BE49-F238E27FC236}">
                    <a16:creationId xmlns:a16="http://schemas.microsoft.com/office/drawing/2014/main" id="{5927558A-B85B-493A-8793-63E2D74030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57105" y="1428748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5" name="Freeform 3230">
                <a:extLst>
                  <a:ext uri="{FF2B5EF4-FFF2-40B4-BE49-F238E27FC236}">
                    <a16:creationId xmlns:a16="http://schemas.microsoft.com/office/drawing/2014/main" id="{734E4807-AC0A-430B-9199-D130EE7B16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51007" y="1329054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6" name="Freeform 3231">
                <a:extLst>
                  <a:ext uri="{FF2B5EF4-FFF2-40B4-BE49-F238E27FC236}">
                    <a16:creationId xmlns:a16="http://schemas.microsoft.com/office/drawing/2014/main" id="{FB328E94-A0FB-4AEC-A564-A146AE2D9C0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88598" y="1277781"/>
                <a:ext cx="37219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7" name="Freeform 3232">
                <a:extLst>
                  <a:ext uri="{FF2B5EF4-FFF2-40B4-BE49-F238E27FC236}">
                    <a16:creationId xmlns:a16="http://schemas.microsoft.com/office/drawing/2014/main" id="{A256786D-003B-40B8-8E73-AA61DAC176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39554" y="1135358"/>
                <a:ext cx="40083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8" name="Freeform 3233">
                <a:extLst>
                  <a:ext uri="{FF2B5EF4-FFF2-40B4-BE49-F238E27FC236}">
                    <a16:creationId xmlns:a16="http://schemas.microsoft.com/office/drawing/2014/main" id="{2CDBEA98-5C93-4DE1-9929-C1FE469B42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28681" y="1374628"/>
                <a:ext cx="42945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9" name="Freeform 3234">
                <a:extLst>
                  <a:ext uri="{FF2B5EF4-FFF2-40B4-BE49-F238E27FC236}">
                    <a16:creationId xmlns:a16="http://schemas.microsoft.com/office/drawing/2014/main" id="{7D6B75F4-E613-4E0A-8F08-5C622C4916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11130" y="1240750"/>
                <a:ext cx="40083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80" name="Freeform 3235">
                <a:extLst>
                  <a:ext uri="{FF2B5EF4-FFF2-40B4-BE49-F238E27FC236}">
                    <a16:creationId xmlns:a16="http://schemas.microsoft.com/office/drawing/2014/main" id="{D11203EA-B3B9-4606-ADEA-868E1F0F9E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57312" y="1141055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81" name="Freeform 3236">
                <a:extLst>
                  <a:ext uri="{FF2B5EF4-FFF2-40B4-BE49-F238E27FC236}">
                    <a16:creationId xmlns:a16="http://schemas.microsoft.com/office/drawing/2014/main" id="{45E9CF9E-027B-4DF6-A657-3523931F82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39554" y="1135358"/>
                <a:ext cx="40083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82" name="Freeform 3237">
                <a:extLst>
                  <a:ext uri="{FF2B5EF4-FFF2-40B4-BE49-F238E27FC236}">
                    <a16:creationId xmlns:a16="http://schemas.microsoft.com/office/drawing/2014/main" id="{55BF2C6A-DE47-4B43-BFF6-8226EADFFC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00052" y="1653776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83" name="Freeform 3238">
                <a:extLst>
                  <a:ext uri="{FF2B5EF4-FFF2-40B4-BE49-F238E27FC236}">
                    <a16:creationId xmlns:a16="http://schemas.microsoft.com/office/drawing/2014/main" id="{FC05E202-1E20-412A-A4EB-3F492E970B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57105" y="1574019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84" name="Freeform 3239">
                <a:extLst>
                  <a:ext uri="{FF2B5EF4-FFF2-40B4-BE49-F238E27FC236}">
                    <a16:creationId xmlns:a16="http://schemas.microsoft.com/office/drawing/2014/main" id="{7EFF3909-CDD4-40F4-A3ED-F17FC0D90D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11505" y="1502806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85" name="Freeform 3240">
                <a:extLst>
                  <a:ext uri="{FF2B5EF4-FFF2-40B4-BE49-F238E27FC236}">
                    <a16:creationId xmlns:a16="http://schemas.microsoft.com/office/drawing/2014/main" id="{71068569-45F6-4A4B-9368-434EFDEBA0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57105" y="1428748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86" name="Freeform 3241">
                <a:extLst>
                  <a:ext uri="{FF2B5EF4-FFF2-40B4-BE49-F238E27FC236}">
                    <a16:creationId xmlns:a16="http://schemas.microsoft.com/office/drawing/2014/main" id="{1C83BB95-167C-4F6F-BB6D-327681E4C8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28681" y="1374628"/>
                <a:ext cx="42945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87" name="Freeform 3242">
                <a:extLst>
                  <a:ext uri="{FF2B5EF4-FFF2-40B4-BE49-F238E27FC236}">
                    <a16:creationId xmlns:a16="http://schemas.microsoft.com/office/drawing/2014/main" id="{D8BE4F6F-A237-4FA7-8C65-F048C11642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57312" y="1141055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88" name="Freeform 3243">
                <a:extLst>
                  <a:ext uri="{FF2B5EF4-FFF2-40B4-BE49-F238E27FC236}">
                    <a16:creationId xmlns:a16="http://schemas.microsoft.com/office/drawing/2014/main" id="{EABD4385-BAE0-4367-B68A-0E87589003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56733" y="1611048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89" name="Freeform 3244">
                <a:extLst>
                  <a:ext uri="{FF2B5EF4-FFF2-40B4-BE49-F238E27FC236}">
                    <a16:creationId xmlns:a16="http://schemas.microsoft.com/office/drawing/2014/main" id="{797EE2C2-67E4-4F72-8E9E-17F544A3A8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96814" y="1554081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0" name="Freeform 3245">
                <a:extLst>
                  <a:ext uri="{FF2B5EF4-FFF2-40B4-BE49-F238E27FC236}">
                    <a16:creationId xmlns:a16="http://schemas.microsoft.com/office/drawing/2014/main" id="{C74CCFC8-6792-4477-A339-5D4AFD1048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65321" y="1460082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1" name="Freeform 3246">
                <a:extLst>
                  <a:ext uri="{FF2B5EF4-FFF2-40B4-BE49-F238E27FC236}">
                    <a16:creationId xmlns:a16="http://schemas.microsoft.com/office/drawing/2014/main" id="{1436E711-FF64-4832-9E07-789149FAC0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11130" y="1411657"/>
                <a:ext cx="40083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2" name="Freeform 3247">
                <a:extLst>
                  <a:ext uri="{FF2B5EF4-FFF2-40B4-BE49-F238E27FC236}">
                    <a16:creationId xmlns:a16="http://schemas.microsoft.com/office/drawing/2014/main" id="{451462C6-C26A-44FF-8E78-5319D7853B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51007" y="1329054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3" name="Freeform 3248">
                <a:extLst>
                  <a:ext uri="{FF2B5EF4-FFF2-40B4-BE49-F238E27FC236}">
                    <a16:creationId xmlns:a16="http://schemas.microsoft.com/office/drawing/2014/main" id="{29A6E038-49AC-4213-94CD-6EC0888247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11130" y="1240750"/>
                <a:ext cx="40083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4" name="Freeform 3249">
                <a:extLst>
                  <a:ext uri="{FF2B5EF4-FFF2-40B4-BE49-F238E27FC236}">
                    <a16:creationId xmlns:a16="http://schemas.microsoft.com/office/drawing/2014/main" id="{BA7FBA10-93CF-46CA-85CB-68E83DA195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39554" y="1135358"/>
                <a:ext cx="40083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5" name="Freeform 3250">
                <a:extLst>
                  <a:ext uri="{FF2B5EF4-FFF2-40B4-BE49-F238E27FC236}">
                    <a16:creationId xmlns:a16="http://schemas.microsoft.com/office/drawing/2014/main" id="{B09A42B3-787D-410E-BC91-5A63CEA29F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441794" y="1972804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6" name="Freeform 3251">
                <a:extLst>
                  <a:ext uri="{FF2B5EF4-FFF2-40B4-BE49-F238E27FC236}">
                    <a16:creationId xmlns:a16="http://schemas.microsoft.com/office/drawing/2014/main" id="{F1A81F1C-07E1-44C3-9F9B-DEBE1AC4E5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140384" y="2946975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7" name="Freeform 3252">
                <a:extLst>
                  <a:ext uri="{FF2B5EF4-FFF2-40B4-BE49-F238E27FC236}">
                    <a16:creationId xmlns:a16="http://schemas.microsoft.com/office/drawing/2014/main" id="{D9F24A01-1011-470D-9284-F6F4B66EC9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453246" y="2608007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8" name="Freeform 3253">
                <a:extLst>
                  <a:ext uri="{FF2B5EF4-FFF2-40B4-BE49-F238E27FC236}">
                    <a16:creationId xmlns:a16="http://schemas.microsoft.com/office/drawing/2014/main" id="{5F0E1FDB-E0D8-4552-9996-05E2DB8A06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76980" y="1898743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9" name="Freeform 3254">
                <a:extLst>
                  <a:ext uri="{FF2B5EF4-FFF2-40B4-BE49-F238E27FC236}">
                    <a16:creationId xmlns:a16="http://schemas.microsoft.com/office/drawing/2014/main" id="{4FE2FC62-CE8D-44E4-BA3B-63CF75AF10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438932" y="2402917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0" name="Freeform 3255">
                <a:extLst>
                  <a:ext uri="{FF2B5EF4-FFF2-40B4-BE49-F238E27FC236}">
                    <a16:creationId xmlns:a16="http://schemas.microsoft.com/office/drawing/2014/main" id="{A2396290-BD2F-4242-8BBD-CFAB32BBDE1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56733" y="1682261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1" name="Freeform 3256">
                <a:extLst>
                  <a:ext uri="{FF2B5EF4-FFF2-40B4-BE49-F238E27FC236}">
                    <a16:creationId xmlns:a16="http://schemas.microsoft.com/office/drawing/2014/main" id="{62B103CD-795A-4242-8928-6C00686B18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441794" y="1972804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2" name="Freeform 3257">
                <a:extLst>
                  <a:ext uri="{FF2B5EF4-FFF2-40B4-BE49-F238E27FC236}">
                    <a16:creationId xmlns:a16="http://schemas.microsoft.com/office/drawing/2014/main" id="{BDA95349-2838-49B8-9899-A0B61B5CBF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76980" y="1898743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3" name="Freeform 3258">
                <a:extLst>
                  <a:ext uri="{FF2B5EF4-FFF2-40B4-BE49-F238E27FC236}">
                    <a16:creationId xmlns:a16="http://schemas.microsoft.com/office/drawing/2014/main" id="{EC9D37F3-185D-4333-9E95-724C3EE5D5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467563" y="2186437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4" name="Freeform 3259">
                <a:extLst>
                  <a:ext uri="{FF2B5EF4-FFF2-40B4-BE49-F238E27FC236}">
                    <a16:creationId xmlns:a16="http://schemas.microsoft.com/office/drawing/2014/main" id="{5F18CC8B-E347-426B-949A-FC6FA50E7C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82707" y="2294677"/>
                <a:ext cx="37219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5" name="Freeform 3260">
                <a:extLst>
                  <a:ext uri="{FF2B5EF4-FFF2-40B4-BE49-F238E27FC236}">
                    <a16:creationId xmlns:a16="http://schemas.microsoft.com/office/drawing/2014/main" id="{D2668B6B-3D11-4CF7-A9EA-9E2A601262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438932" y="2402917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6" name="Freeform 3261">
                <a:extLst>
                  <a:ext uri="{FF2B5EF4-FFF2-40B4-BE49-F238E27FC236}">
                    <a16:creationId xmlns:a16="http://schemas.microsoft.com/office/drawing/2014/main" id="{312CD0E4-0ECE-4B9F-833F-3DA3059A79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919928" y="2479829"/>
                <a:ext cx="40083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7" name="Freeform 3262">
                <a:extLst>
                  <a:ext uri="{FF2B5EF4-FFF2-40B4-BE49-F238E27FC236}">
                    <a16:creationId xmlns:a16="http://schemas.microsoft.com/office/drawing/2014/main" id="{1FF1C126-DB2B-4F47-BE52-7269223E48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353040" y="2664977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8" name="Freeform 3263">
                <a:extLst>
                  <a:ext uri="{FF2B5EF4-FFF2-40B4-BE49-F238E27FC236}">
                    <a16:creationId xmlns:a16="http://schemas.microsoft.com/office/drawing/2014/main" id="{D61DB6F6-67CF-4FB1-88F3-463DC36578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257769" y="3237516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9" name="Freeform 3264">
                <a:extLst>
                  <a:ext uri="{FF2B5EF4-FFF2-40B4-BE49-F238E27FC236}">
                    <a16:creationId xmlns:a16="http://schemas.microsoft.com/office/drawing/2014/main" id="{F9C94626-4474-4AFE-AAD2-58B48A16A0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633621" y="4658893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0" name="Freeform 3265">
                <a:extLst>
                  <a:ext uri="{FF2B5EF4-FFF2-40B4-BE49-F238E27FC236}">
                    <a16:creationId xmlns:a16="http://schemas.microsoft.com/office/drawing/2014/main" id="{783DB597-E0B7-4A6E-BA16-DA97CBE4D84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05197" y="3730297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1" name="Freeform 3266">
                <a:extLst>
                  <a:ext uri="{FF2B5EF4-FFF2-40B4-BE49-F238E27FC236}">
                    <a16:creationId xmlns:a16="http://schemas.microsoft.com/office/drawing/2014/main" id="{9D2F6040-5021-4E01-AA9F-9185F86F4E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91297" y="4505075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2" name="Freeform 3267">
                <a:extLst>
                  <a:ext uri="{FF2B5EF4-FFF2-40B4-BE49-F238E27FC236}">
                    <a16:creationId xmlns:a16="http://schemas.microsoft.com/office/drawing/2014/main" id="{833BE914-4FF7-473A-9879-3E7F1E3162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294988" y="3764479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3" name="Freeform 3268">
                <a:extLst>
                  <a:ext uri="{FF2B5EF4-FFF2-40B4-BE49-F238E27FC236}">
                    <a16:creationId xmlns:a16="http://schemas.microsoft.com/office/drawing/2014/main" id="{3C2E018C-B47C-493A-AF84-5DA9EB1ACF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140384" y="2946975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4" name="Freeform 3269">
                <a:extLst>
                  <a:ext uri="{FF2B5EF4-FFF2-40B4-BE49-F238E27FC236}">
                    <a16:creationId xmlns:a16="http://schemas.microsoft.com/office/drawing/2014/main" id="{1A218D74-9C90-472D-942B-E27A32301E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98020" y="3832842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5" name="Freeform 3270">
                <a:extLst>
                  <a:ext uri="{FF2B5EF4-FFF2-40B4-BE49-F238E27FC236}">
                    <a16:creationId xmlns:a16="http://schemas.microsoft.com/office/drawing/2014/main" id="{A18B3B38-B228-44CA-B3AC-8E88A0F59B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62833" y="2844430"/>
                <a:ext cx="37219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6" name="Freeform 3271">
                <a:extLst>
                  <a:ext uri="{FF2B5EF4-FFF2-40B4-BE49-F238E27FC236}">
                    <a16:creationId xmlns:a16="http://schemas.microsoft.com/office/drawing/2014/main" id="{84E3971E-4E78-41A3-A0D0-961F672313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86567" y="2411465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7" name="Freeform 3272">
                <a:extLst>
                  <a:ext uri="{FF2B5EF4-FFF2-40B4-BE49-F238E27FC236}">
                    <a16:creationId xmlns:a16="http://schemas.microsoft.com/office/drawing/2014/main" id="{CE059D6C-B64E-4912-932D-3580D1E3FE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37065" y="2120923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8" name="Freeform 3273">
                <a:extLst>
                  <a:ext uri="{FF2B5EF4-FFF2-40B4-BE49-F238E27FC236}">
                    <a16:creationId xmlns:a16="http://schemas.microsoft.com/office/drawing/2014/main" id="{8F5253CA-BA0B-42FA-AC54-3509F92AECB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60799" y="1950014"/>
                <a:ext cx="40083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9" name="Freeform 3274">
                <a:extLst>
                  <a:ext uri="{FF2B5EF4-FFF2-40B4-BE49-F238E27FC236}">
                    <a16:creationId xmlns:a16="http://schemas.microsoft.com/office/drawing/2014/main" id="{12DA6330-3D16-4E66-B457-F1EF23F902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54241" y="1935773"/>
                <a:ext cx="42945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0" name="Freeform 3275">
                <a:extLst>
                  <a:ext uri="{FF2B5EF4-FFF2-40B4-BE49-F238E27FC236}">
                    <a16:creationId xmlns:a16="http://schemas.microsoft.com/office/drawing/2014/main" id="{B34ACF66-034F-4E0C-8935-22A80B07DD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14989" y="1710746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1" name="Freeform 3276">
                <a:extLst>
                  <a:ext uri="{FF2B5EF4-FFF2-40B4-BE49-F238E27FC236}">
                    <a16:creationId xmlns:a16="http://schemas.microsoft.com/office/drawing/2014/main" id="{A0FAE497-55C2-475E-B5E0-EC40C23E12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25819" y="1727837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2" name="Freeform 3277">
                <a:extLst>
                  <a:ext uri="{FF2B5EF4-FFF2-40B4-BE49-F238E27FC236}">
                    <a16:creationId xmlns:a16="http://schemas.microsoft.com/office/drawing/2014/main" id="{F9A871D6-33CA-42D8-A2FB-7523C93D5C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63663" y="2194981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3" name="Freeform 3278">
                <a:extLst>
                  <a:ext uri="{FF2B5EF4-FFF2-40B4-BE49-F238E27FC236}">
                    <a16:creationId xmlns:a16="http://schemas.microsoft.com/office/drawing/2014/main" id="{207563D4-3420-4FDE-8D82-14CBE81FC6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494119" y="2445645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4" name="Freeform 3279">
                <a:extLst>
                  <a:ext uri="{FF2B5EF4-FFF2-40B4-BE49-F238E27FC236}">
                    <a16:creationId xmlns:a16="http://schemas.microsoft.com/office/drawing/2014/main" id="{BD54F69A-7417-459D-9242-95B1345C52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80841" y="2590916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5" name="Freeform 3280">
                <a:extLst>
                  <a:ext uri="{FF2B5EF4-FFF2-40B4-BE49-F238E27FC236}">
                    <a16:creationId xmlns:a16="http://schemas.microsoft.com/office/drawing/2014/main" id="{2EA657AB-715E-4004-8B14-A101DA5175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27645" y="3824298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6" name="Freeform 3281">
                <a:extLst>
                  <a:ext uri="{FF2B5EF4-FFF2-40B4-BE49-F238E27FC236}">
                    <a16:creationId xmlns:a16="http://schemas.microsoft.com/office/drawing/2014/main" id="{47DA1F75-777E-4C4F-867A-360ACB005A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56691" y="3174849"/>
                <a:ext cx="37219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7" name="Freeform 3282">
                <a:extLst>
                  <a:ext uri="{FF2B5EF4-FFF2-40B4-BE49-F238E27FC236}">
                    <a16:creationId xmlns:a16="http://schemas.microsoft.com/office/drawing/2014/main" id="{8816F2DE-D2D9-4E01-8752-7C78946210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711712" y="3741691"/>
                <a:ext cx="42945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8" name="Freeform 3283">
                <a:extLst>
                  <a:ext uri="{FF2B5EF4-FFF2-40B4-BE49-F238E27FC236}">
                    <a16:creationId xmlns:a16="http://schemas.microsoft.com/office/drawing/2014/main" id="{E376BB34-899C-453F-BDF2-7A4D0A3040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88598" y="4470895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9" name="Freeform 3284">
                <a:extLst>
                  <a:ext uri="{FF2B5EF4-FFF2-40B4-BE49-F238E27FC236}">
                    <a16:creationId xmlns:a16="http://schemas.microsoft.com/office/drawing/2014/main" id="{A48CCC05-FC23-48CE-B94E-3FCFEB5B57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27645" y="3824298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0" name="Freeform 3285">
                <a:extLst>
                  <a:ext uri="{FF2B5EF4-FFF2-40B4-BE49-F238E27FC236}">
                    <a16:creationId xmlns:a16="http://schemas.microsoft.com/office/drawing/2014/main" id="{7571CF37-2010-4FE5-895D-FE0A84A9140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633621" y="4658893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1" name="Freeform 3286">
                <a:extLst>
                  <a:ext uri="{FF2B5EF4-FFF2-40B4-BE49-F238E27FC236}">
                    <a16:creationId xmlns:a16="http://schemas.microsoft.com/office/drawing/2014/main" id="{34A9AE7F-D5AC-4E74-9F64-B4D939F27D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98020" y="3832842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2" name="Freeform 3287">
                <a:extLst>
                  <a:ext uri="{FF2B5EF4-FFF2-40B4-BE49-F238E27FC236}">
                    <a16:creationId xmlns:a16="http://schemas.microsoft.com/office/drawing/2014/main" id="{8898947A-4946-42EA-B700-BB7806BEDB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098226" y="3288788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3" name="Freeform 3288">
                <a:extLst>
                  <a:ext uri="{FF2B5EF4-FFF2-40B4-BE49-F238E27FC236}">
                    <a16:creationId xmlns:a16="http://schemas.microsoft.com/office/drawing/2014/main" id="{2B62F4D1-D931-4F86-8FE6-A85C8EAAF7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470425" y="3801510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4" name="Freeform 3289">
                <a:extLst>
                  <a:ext uri="{FF2B5EF4-FFF2-40B4-BE49-F238E27FC236}">
                    <a16:creationId xmlns:a16="http://schemas.microsoft.com/office/drawing/2014/main" id="{66D694D1-D781-48EA-8D71-E87C1D56DB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321545" y="3246060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5" name="Freeform 3290">
                <a:extLst>
                  <a:ext uri="{FF2B5EF4-FFF2-40B4-BE49-F238E27FC236}">
                    <a16:creationId xmlns:a16="http://schemas.microsoft.com/office/drawing/2014/main" id="{B60607B6-CFCC-410F-8541-B25DEC3A9D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257769" y="3237516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6" name="Freeform 3291">
                <a:extLst>
                  <a:ext uri="{FF2B5EF4-FFF2-40B4-BE49-F238E27FC236}">
                    <a16:creationId xmlns:a16="http://schemas.microsoft.com/office/drawing/2014/main" id="{3277F57A-616B-480F-AD33-C9AF6A5293C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05197" y="3730297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7" name="Freeform 3292">
                <a:extLst>
                  <a:ext uri="{FF2B5EF4-FFF2-40B4-BE49-F238E27FC236}">
                    <a16:creationId xmlns:a16="http://schemas.microsoft.com/office/drawing/2014/main" id="{BD5BB1DB-C8A9-41A8-9005-33CA11D011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217688" y="4037931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8" name="Freeform 3293">
                <a:extLst>
                  <a:ext uri="{FF2B5EF4-FFF2-40B4-BE49-F238E27FC236}">
                    <a16:creationId xmlns:a16="http://schemas.microsoft.com/office/drawing/2014/main" id="{693728F4-9235-4175-B260-D97A23CB23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470425" y="3801510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9" name="Freeform 3294">
                <a:extLst>
                  <a:ext uri="{FF2B5EF4-FFF2-40B4-BE49-F238E27FC236}">
                    <a16:creationId xmlns:a16="http://schemas.microsoft.com/office/drawing/2014/main" id="{6C75FF2A-B325-48E2-B4B3-87ADE5079E4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633621" y="4658893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0" name="Freeform 3295">
                <a:extLst>
                  <a:ext uri="{FF2B5EF4-FFF2-40B4-BE49-F238E27FC236}">
                    <a16:creationId xmlns:a16="http://schemas.microsoft.com/office/drawing/2014/main" id="{353F87B7-5831-42B1-B162-469FF2A24D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877770" y="4621864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1" name="Freeform 3296">
                <a:extLst>
                  <a:ext uri="{FF2B5EF4-FFF2-40B4-BE49-F238E27FC236}">
                    <a16:creationId xmlns:a16="http://schemas.microsoft.com/office/drawing/2014/main" id="{B1233B4C-9C6B-4333-B30D-339EA0815A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98020" y="3832842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2" name="Freeform 3297">
                <a:extLst>
                  <a:ext uri="{FF2B5EF4-FFF2-40B4-BE49-F238E27FC236}">
                    <a16:creationId xmlns:a16="http://schemas.microsoft.com/office/drawing/2014/main" id="{60AB1513-8B65-44C6-AB19-D16899F2DE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85114" y="4183202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3" name="Freeform 3298">
                <a:extLst>
                  <a:ext uri="{FF2B5EF4-FFF2-40B4-BE49-F238E27FC236}">
                    <a16:creationId xmlns:a16="http://schemas.microsoft.com/office/drawing/2014/main" id="{194CD23D-2F4D-47A7-B583-E78205A39D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711712" y="3741691"/>
                <a:ext cx="42945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4" name="Freeform 3299">
                <a:extLst>
                  <a:ext uri="{FF2B5EF4-FFF2-40B4-BE49-F238E27FC236}">
                    <a16:creationId xmlns:a16="http://schemas.microsoft.com/office/drawing/2014/main" id="{0268070D-F641-457B-97F7-FC42CE50A3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21921" y="3453998"/>
                <a:ext cx="42945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5" name="Freeform 3300">
                <a:extLst>
                  <a:ext uri="{FF2B5EF4-FFF2-40B4-BE49-F238E27FC236}">
                    <a16:creationId xmlns:a16="http://schemas.microsoft.com/office/drawing/2014/main" id="{345F4CCC-657C-408A-B85E-11A9072BC4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098226" y="3288788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6" name="Freeform 3301">
                <a:extLst>
                  <a:ext uri="{FF2B5EF4-FFF2-40B4-BE49-F238E27FC236}">
                    <a16:creationId xmlns:a16="http://schemas.microsoft.com/office/drawing/2014/main" id="{D8F04C35-51CA-4A82-9836-E0EC101242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62833" y="2844430"/>
                <a:ext cx="37219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7" name="Freeform 3302">
                <a:extLst>
                  <a:ext uri="{FF2B5EF4-FFF2-40B4-BE49-F238E27FC236}">
                    <a16:creationId xmlns:a16="http://schemas.microsoft.com/office/drawing/2014/main" id="{AE2948CC-0ECF-4411-9B52-388D6760B5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106817" y="2659280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8" name="Freeform 3303">
                <a:extLst>
                  <a:ext uri="{FF2B5EF4-FFF2-40B4-BE49-F238E27FC236}">
                    <a16:creationId xmlns:a16="http://schemas.microsoft.com/office/drawing/2014/main" id="{4D057B20-F061-48CC-B812-C4A68896DD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711712" y="3741691"/>
                <a:ext cx="42945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9" name="Freeform 3304">
                <a:extLst>
                  <a:ext uri="{FF2B5EF4-FFF2-40B4-BE49-F238E27FC236}">
                    <a16:creationId xmlns:a16="http://schemas.microsoft.com/office/drawing/2014/main" id="{26D564C6-0B81-4B28-9FFE-774B0EE202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98020" y="3832842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0" name="Freeform 3305">
                <a:extLst>
                  <a:ext uri="{FF2B5EF4-FFF2-40B4-BE49-F238E27FC236}">
                    <a16:creationId xmlns:a16="http://schemas.microsoft.com/office/drawing/2014/main" id="{0923DE0E-DEEB-4EB7-928E-8F12782BC6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470425" y="3801510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1" name="Freeform 3306">
                <a:extLst>
                  <a:ext uri="{FF2B5EF4-FFF2-40B4-BE49-F238E27FC236}">
                    <a16:creationId xmlns:a16="http://schemas.microsoft.com/office/drawing/2014/main" id="{F3707446-4BAA-4BED-89A8-6279FB029C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05197" y="3730297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2" name="Freeform 3307">
                <a:extLst>
                  <a:ext uri="{FF2B5EF4-FFF2-40B4-BE49-F238E27FC236}">
                    <a16:creationId xmlns:a16="http://schemas.microsoft.com/office/drawing/2014/main" id="{BA24E7D0-DD6B-4F89-9EC1-D727667395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353040" y="2664977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3" name="Freeform 3308">
                <a:extLst>
                  <a:ext uri="{FF2B5EF4-FFF2-40B4-BE49-F238E27FC236}">
                    <a16:creationId xmlns:a16="http://schemas.microsoft.com/office/drawing/2014/main" id="{4232C74F-0558-4B5A-902A-BB0A33F6CB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002956" y="2690612"/>
                <a:ext cx="37219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4" name="Freeform 3309">
                <a:extLst>
                  <a:ext uri="{FF2B5EF4-FFF2-40B4-BE49-F238E27FC236}">
                    <a16:creationId xmlns:a16="http://schemas.microsoft.com/office/drawing/2014/main" id="{CC9A1AC7-7D64-427D-AD0B-3E720895CD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321545" y="3246060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5" name="Freeform 3310">
                <a:extLst>
                  <a:ext uri="{FF2B5EF4-FFF2-40B4-BE49-F238E27FC236}">
                    <a16:creationId xmlns:a16="http://schemas.microsoft.com/office/drawing/2014/main" id="{98216B2C-23B9-4616-8C4A-385B4549D5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106817" y="2659280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6" name="Freeform 3311">
                <a:extLst>
                  <a:ext uri="{FF2B5EF4-FFF2-40B4-BE49-F238E27FC236}">
                    <a16:creationId xmlns:a16="http://schemas.microsoft.com/office/drawing/2014/main" id="{50211E3B-B49A-4D3A-A069-2C86A4A637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098226" y="2274738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7" name="Freeform 3312">
                <a:extLst>
                  <a:ext uri="{FF2B5EF4-FFF2-40B4-BE49-F238E27FC236}">
                    <a16:creationId xmlns:a16="http://schemas.microsoft.com/office/drawing/2014/main" id="{CEBA63F3-4B0D-41B0-97B5-9E62C44445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353040" y="2664977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8" name="Freeform 3313">
                <a:extLst>
                  <a:ext uri="{FF2B5EF4-FFF2-40B4-BE49-F238E27FC236}">
                    <a16:creationId xmlns:a16="http://schemas.microsoft.com/office/drawing/2014/main" id="{B26712C6-8B8F-4025-A1E8-EED6E01713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86567" y="2411465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9" name="Freeform 3314">
                <a:extLst>
                  <a:ext uri="{FF2B5EF4-FFF2-40B4-BE49-F238E27FC236}">
                    <a16:creationId xmlns:a16="http://schemas.microsoft.com/office/drawing/2014/main" id="{88BC1A2F-7B91-40E1-A425-85CAC4B0BE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438932" y="2402917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0" name="Freeform 3315">
                <a:extLst>
                  <a:ext uri="{FF2B5EF4-FFF2-40B4-BE49-F238E27FC236}">
                    <a16:creationId xmlns:a16="http://schemas.microsoft.com/office/drawing/2014/main" id="{664A0189-A69A-4F5A-B2D6-6B0B8CD248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80841" y="2590916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1" name="Freeform 3316">
                <a:extLst>
                  <a:ext uri="{FF2B5EF4-FFF2-40B4-BE49-F238E27FC236}">
                    <a16:creationId xmlns:a16="http://schemas.microsoft.com/office/drawing/2014/main" id="{27AE12CE-24C8-45E7-9F0B-8B54369E35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324409" y="2269042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2" name="Freeform 3317">
                <a:extLst>
                  <a:ext uri="{FF2B5EF4-FFF2-40B4-BE49-F238E27FC236}">
                    <a16:creationId xmlns:a16="http://schemas.microsoft.com/office/drawing/2014/main" id="{B0868B63-3F75-4780-90D7-4F766C5AE8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098226" y="2274738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3" name="Freeform 3318">
                <a:extLst>
                  <a:ext uri="{FF2B5EF4-FFF2-40B4-BE49-F238E27FC236}">
                    <a16:creationId xmlns:a16="http://schemas.microsoft.com/office/drawing/2014/main" id="{9A5BA1D0-FA91-4983-9278-6A0F87C00B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441794" y="1972804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4" name="Freeform 3319">
                <a:extLst>
                  <a:ext uri="{FF2B5EF4-FFF2-40B4-BE49-F238E27FC236}">
                    <a16:creationId xmlns:a16="http://schemas.microsoft.com/office/drawing/2014/main" id="{3FB43325-3B8E-4A64-A075-94E9F62923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324409" y="2269042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5" name="Freeform 3320">
                <a:extLst>
                  <a:ext uri="{FF2B5EF4-FFF2-40B4-BE49-F238E27FC236}">
                    <a16:creationId xmlns:a16="http://schemas.microsoft.com/office/drawing/2014/main" id="{D20FC4FC-C22D-4DFA-A782-70E91A73ED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63663" y="2194981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6" name="Freeform 3321">
                <a:extLst>
                  <a:ext uri="{FF2B5EF4-FFF2-40B4-BE49-F238E27FC236}">
                    <a16:creationId xmlns:a16="http://schemas.microsoft.com/office/drawing/2014/main" id="{7A310F2C-10E1-4382-A1E4-4810C73CBE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441794" y="1972804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7" name="Freeform 3322">
                <a:extLst>
                  <a:ext uri="{FF2B5EF4-FFF2-40B4-BE49-F238E27FC236}">
                    <a16:creationId xmlns:a16="http://schemas.microsoft.com/office/drawing/2014/main" id="{D08031EE-64A0-4F4C-BE04-E07A2AF69A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60799" y="1950014"/>
                <a:ext cx="40083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8" name="Freeform 3323">
                <a:extLst>
                  <a:ext uri="{FF2B5EF4-FFF2-40B4-BE49-F238E27FC236}">
                    <a16:creationId xmlns:a16="http://schemas.microsoft.com/office/drawing/2014/main" id="{881188E4-7469-405E-BCC9-6FF478E45B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395985" y="1716443"/>
                <a:ext cx="42945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9" name="Freeform 3324">
                <a:extLst>
                  <a:ext uri="{FF2B5EF4-FFF2-40B4-BE49-F238E27FC236}">
                    <a16:creationId xmlns:a16="http://schemas.microsoft.com/office/drawing/2014/main" id="{20A39B59-C226-4816-ADF0-B8ED3E4559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14989" y="1710746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0" name="Freeform 3325">
                <a:extLst>
                  <a:ext uri="{FF2B5EF4-FFF2-40B4-BE49-F238E27FC236}">
                    <a16:creationId xmlns:a16="http://schemas.microsoft.com/office/drawing/2014/main" id="{EEFB0B18-A13F-4B40-9313-1968ABF714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60799" y="1950014"/>
                <a:ext cx="40083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1" name="Freeform 3326">
                <a:extLst>
                  <a:ext uri="{FF2B5EF4-FFF2-40B4-BE49-F238E27FC236}">
                    <a16:creationId xmlns:a16="http://schemas.microsoft.com/office/drawing/2014/main" id="{9DF2D920-D2B5-412A-8595-6D6CBBA11B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63663" y="2194981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2" name="Freeform 3327">
                <a:extLst>
                  <a:ext uri="{FF2B5EF4-FFF2-40B4-BE49-F238E27FC236}">
                    <a16:creationId xmlns:a16="http://schemas.microsoft.com/office/drawing/2014/main" id="{C60C7667-C42E-4AE7-9475-CE67FF9C94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098226" y="2274738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3" name="Freeform 3328">
                <a:extLst>
                  <a:ext uri="{FF2B5EF4-FFF2-40B4-BE49-F238E27FC236}">
                    <a16:creationId xmlns:a16="http://schemas.microsoft.com/office/drawing/2014/main" id="{08F27EC8-6859-44C0-9798-D8016AC8B6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86567" y="2411465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4" name="Freeform 3329">
                <a:extLst>
                  <a:ext uri="{FF2B5EF4-FFF2-40B4-BE49-F238E27FC236}">
                    <a16:creationId xmlns:a16="http://schemas.microsoft.com/office/drawing/2014/main" id="{0117BE9F-46A7-412C-A969-54C3CEFEF3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980841" y="2590916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5" name="Freeform 3330">
                <a:extLst>
                  <a:ext uri="{FF2B5EF4-FFF2-40B4-BE49-F238E27FC236}">
                    <a16:creationId xmlns:a16="http://schemas.microsoft.com/office/drawing/2014/main" id="{3F4033CB-5E0B-4AF7-8BBA-9A4AB48C91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106817" y="2659280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6" name="Freeform 3331">
                <a:extLst>
                  <a:ext uri="{FF2B5EF4-FFF2-40B4-BE49-F238E27FC236}">
                    <a16:creationId xmlns:a16="http://schemas.microsoft.com/office/drawing/2014/main" id="{86365F7A-E3A4-44AC-A888-D4BD87D2E9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098226" y="3288788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7" name="Freeform 3332">
                <a:extLst>
                  <a:ext uri="{FF2B5EF4-FFF2-40B4-BE49-F238E27FC236}">
                    <a16:creationId xmlns:a16="http://schemas.microsoft.com/office/drawing/2014/main" id="{57E4ECB0-D4B8-443C-A075-1D087D6C13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321545" y="3246060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8" name="Freeform 3333">
                <a:extLst>
                  <a:ext uri="{FF2B5EF4-FFF2-40B4-BE49-F238E27FC236}">
                    <a16:creationId xmlns:a16="http://schemas.microsoft.com/office/drawing/2014/main" id="{070B572E-3B3A-4549-8172-E533D3F0CA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353040" y="2664977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9" name="Freeform 3334">
                <a:extLst>
                  <a:ext uri="{FF2B5EF4-FFF2-40B4-BE49-F238E27FC236}">
                    <a16:creationId xmlns:a16="http://schemas.microsoft.com/office/drawing/2014/main" id="{138A55AB-6762-43F0-ABD1-1C6D8ECC55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453246" y="2608007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0" name="Freeform 3335">
                <a:extLst>
                  <a:ext uri="{FF2B5EF4-FFF2-40B4-BE49-F238E27FC236}">
                    <a16:creationId xmlns:a16="http://schemas.microsoft.com/office/drawing/2014/main" id="{81E5A51C-95BF-479C-97FC-6F8FC84336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438932" y="2402917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1" name="Freeform 3336">
                <a:extLst>
                  <a:ext uri="{FF2B5EF4-FFF2-40B4-BE49-F238E27FC236}">
                    <a16:creationId xmlns:a16="http://schemas.microsoft.com/office/drawing/2014/main" id="{8E258CF2-855E-4467-80D6-32FD66FF82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324409" y="2269042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2" name="Freeform 3337">
                <a:extLst>
                  <a:ext uri="{FF2B5EF4-FFF2-40B4-BE49-F238E27FC236}">
                    <a16:creationId xmlns:a16="http://schemas.microsoft.com/office/drawing/2014/main" id="{CAE463D9-7845-4A79-994E-B62287D1A6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467563" y="2186437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3" name="Freeform 3338">
                <a:extLst>
                  <a:ext uri="{FF2B5EF4-FFF2-40B4-BE49-F238E27FC236}">
                    <a16:creationId xmlns:a16="http://schemas.microsoft.com/office/drawing/2014/main" id="{E20D5345-5E7F-4E49-A848-1200E5A382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441794" y="1972804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4" name="Freeform 3339">
                <a:extLst>
                  <a:ext uri="{FF2B5EF4-FFF2-40B4-BE49-F238E27FC236}">
                    <a16:creationId xmlns:a16="http://schemas.microsoft.com/office/drawing/2014/main" id="{275A5826-7314-4BEF-A21A-517BA98F97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395985" y="1716443"/>
                <a:ext cx="42945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5" name="Freeform 3340">
                <a:extLst>
                  <a:ext uri="{FF2B5EF4-FFF2-40B4-BE49-F238E27FC236}">
                    <a16:creationId xmlns:a16="http://schemas.microsoft.com/office/drawing/2014/main" id="{69325FC6-0815-40B0-8A9A-F3B116C344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756733" y="1682261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6" name="Freeform 3341">
                <a:extLst>
                  <a:ext uri="{FF2B5EF4-FFF2-40B4-BE49-F238E27FC236}">
                    <a16:creationId xmlns:a16="http://schemas.microsoft.com/office/drawing/2014/main" id="{DC3ABF80-B2FF-437E-8B3C-D15A8B982B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76980" y="1898743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7" name="Freeform 3342">
                <a:extLst>
                  <a:ext uri="{FF2B5EF4-FFF2-40B4-BE49-F238E27FC236}">
                    <a16:creationId xmlns:a16="http://schemas.microsoft.com/office/drawing/2014/main" id="{92DAF731-93BE-45A2-8538-FF2B381ED2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82707" y="2294677"/>
                <a:ext cx="37219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8" name="Freeform 3343">
                <a:extLst>
                  <a:ext uri="{FF2B5EF4-FFF2-40B4-BE49-F238E27FC236}">
                    <a16:creationId xmlns:a16="http://schemas.microsoft.com/office/drawing/2014/main" id="{1C3FCEAC-63E7-494A-BF31-76DE364611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919928" y="2479829"/>
                <a:ext cx="40083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9" name="Freeform 3344">
                <a:extLst>
                  <a:ext uri="{FF2B5EF4-FFF2-40B4-BE49-F238E27FC236}">
                    <a16:creationId xmlns:a16="http://schemas.microsoft.com/office/drawing/2014/main" id="{7EE8A74F-7DD7-4459-879A-CBAFEE7EFB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002956" y="2690612"/>
                <a:ext cx="37219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0" name="Freeform 3345">
                <a:extLst>
                  <a:ext uri="{FF2B5EF4-FFF2-40B4-BE49-F238E27FC236}">
                    <a16:creationId xmlns:a16="http://schemas.microsoft.com/office/drawing/2014/main" id="{901E5EA6-C931-4834-BE05-C70B2C4E25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140384" y="2946975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1" name="Freeform 3346">
                <a:extLst>
                  <a:ext uri="{FF2B5EF4-FFF2-40B4-BE49-F238E27FC236}">
                    <a16:creationId xmlns:a16="http://schemas.microsoft.com/office/drawing/2014/main" id="{1B62258E-FE0F-498A-A4DD-2171FA3CB0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257769" y="3237516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2" name="Freeform 3347">
                <a:extLst>
                  <a:ext uri="{FF2B5EF4-FFF2-40B4-BE49-F238E27FC236}">
                    <a16:creationId xmlns:a16="http://schemas.microsoft.com/office/drawing/2014/main" id="{10845E9E-A3F6-4671-8937-E34D720552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312167" y="3462543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3" name="Freeform 3348">
                <a:extLst>
                  <a:ext uri="{FF2B5EF4-FFF2-40B4-BE49-F238E27FC236}">
                    <a16:creationId xmlns:a16="http://schemas.microsoft.com/office/drawing/2014/main" id="{053388ED-9F60-415F-A0CF-B33F0C6757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294988" y="3764479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4" name="Freeform 3349">
                <a:extLst>
                  <a:ext uri="{FF2B5EF4-FFF2-40B4-BE49-F238E27FC236}">
                    <a16:creationId xmlns:a16="http://schemas.microsoft.com/office/drawing/2014/main" id="{0BFB696F-2821-4D33-8B2B-86EB2F51D3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217686" y="4037931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5" name="Freeform 3350">
                <a:extLst>
                  <a:ext uri="{FF2B5EF4-FFF2-40B4-BE49-F238E27FC236}">
                    <a16:creationId xmlns:a16="http://schemas.microsoft.com/office/drawing/2014/main" id="{2170EC96-99BC-48B0-ADC9-3CC0C27726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103165" y="4260110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6" name="Freeform 3351">
                <a:extLst>
                  <a:ext uri="{FF2B5EF4-FFF2-40B4-BE49-F238E27FC236}">
                    <a16:creationId xmlns:a16="http://schemas.microsoft.com/office/drawing/2014/main" id="{A8ACC297-10FB-48AE-B471-EE19CA96D3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891295" y="4505075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7" name="Freeform 3353">
                <a:extLst>
                  <a:ext uri="{FF2B5EF4-FFF2-40B4-BE49-F238E27FC236}">
                    <a16:creationId xmlns:a16="http://schemas.microsoft.com/office/drawing/2014/main" id="{C934272B-740F-45C7-B3F3-15ACD95877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633620" y="4658893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8" name="Freeform 3355">
                <a:extLst>
                  <a:ext uri="{FF2B5EF4-FFF2-40B4-BE49-F238E27FC236}">
                    <a16:creationId xmlns:a16="http://schemas.microsoft.com/office/drawing/2014/main" id="{AA2CBB7F-4048-4819-9FB7-86EADCD6A1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877770" y="4621862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9" name="Freeform 3356">
                <a:extLst>
                  <a:ext uri="{FF2B5EF4-FFF2-40B4-BE49-F238E27FC236}">
                    <a16:creationId xmlns:a16="http://schemas.microsoft.com/office/drawing/2014/main" id="{3B39A921-0E0B-4BCC-9AB9-BA5D12A8DF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88602" y="4470895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0" name="Freeform 3357">
                <a:extLst>
                  <a:ext uri="{FF2B5EF4-FFF2-40B4-BE49-F238E27FC236}">
                    <a16:creationId xmlns:a16="http://schemas.microsoft.com/office/drawing/2014/main" id="{FDA5AD28-7072-4552-B58B-53F55DD58F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85117" y="4183199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1" name="Freeform 3358">
                <a:extLst>
                  <a:ext uri="{FF2B5EF4-FFF2-40B4-BE49-F238E27FC236}">
                    <a16:creationId xmlns:a16="http://schemas.microsoft.com/office/drawing/2014/main" id="{3ED3C75A-7BE8-44E6-A5D6-40FA078787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27647" y="3824294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2" name="Freeform 3359">
                <a:extLst>
                  <a:ext uri="{FF2B5EF4-FFF2-40B4-BE49-F238E27FC236}">
                    <a16:creationId xmlns:a16="http://schemas.microsoft.com/office/drawing/2014/main" id="{C5990AE4-2294-427B-B571-09380C36A7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425405" y="2323162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3" name="Freeform 3360">
                <a:extLst>
                  <a:ext uri="{FF2B5EF4-FFF2-40B4-BE49-F238E27FC236}">
                    <a16:creationId xmlns:a16="http://schemas.microsoft.com/office/drawing/2014/main" id="{08B9992D-9A4D-463E-87E0-2B41B06869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9432" y="2670672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4" name="Freeform 3361">
                <a:extLst>
                  <a:ext uri="{FF2B5EF4-FFF2-40B4-BE49-F238E27FC236}">
                    <a16:creationId xmlns:a16="http://schemas.microsoft.com/office/drawing/2014/main" id="{EF9DF566-87A8-4D9D-8E46-6374120428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494119" y="2445643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5" name="Freeform 3362">
                <a:extLst>
                  <a:ext uri="{FF2B5EF4-FFF2-40B4-BE49-F238E27FC236}">
                    <a16:creationId xmlns:a16="http://schemas.microsoft.com/office/drawing/2014/main" id="{46226C4F-2539-4112-8248-3692E90A40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41548" y="2761823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6" name="Freeform 3363">
                <a:extLst>
                  <a:ext uri="{FF2B5EF4-FFF2-40B4-BE49-F238E27FC236}">
                    <a16:creationId xmlns:a16="http://schemas.microsoft.com/office/drawing/2014/main" id="{2140AE1A-2A2E-434B-B311-BDDA4824B6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43581" y="3243211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7" name="Freeform 3364">
                <a:extLst>
                  <a:ext uri="{FF2B5EF4-FFF2-40B4-BE49-F238E27FC236}">
                    <a16:creationId xmlns:a16="http://schemas.microsoft.com/office/drawing/2014/main" id="{78A23E76-5A16-4466-AE0B-56973A07C9E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0843" y="2844428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8" name="Freeform 3365">
                <a:extLst>
                  <a:ext uri="{FF2B5EF4-FFF2-40B4-BE49-F238E27FC236}">
                    <a16:creationId xmlns:a16="http://schemas.microsoft.com/office/drawing/2014/main" id="{39B0F396-68F2-403A-AB84-63B3E4B671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3706" y="1648078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9" name="Freeform 3366">
                <a:extLst>
                  <a:ext uri="{FF2B5EF4-FFF2-40B4-BE49-F238E27FC236}">
                    <a16:creationId xmlns:a16="http://schemas.microsoft.com/office/drawing/2014/main" id="{982C4EA1-B21C-45A8-A435-F0EF5F7421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39308" y="1334747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0" name="Freeform 3367">
                <a:extLst>
                  <a:ext uri="{FF2B5EF4-FFF2-40B4-BE49-F238E27FC236}">
                    <a16:creationId xmlns:a16="http://schemas.microsoft.com/office/drawing/2014/main" id="{7CC2C068-98A9-4F39-A37E-8A5E266FA4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19888" y="1109720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1" name="Freeform 3368">
                <a:extLst>
                  <a:ext uri="{FF2B5EF4-FFF2-40B4-BE49-F238E27FC236}">
                    <a16:creationId xmlns:a16="http://schemas.microsoft.com/office/drawing/2014/main" id="{08F2534A-B98D-465A-88DE-F981B8C446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328063" y="38703"/>
                <a:ext cx="42945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2" name="Freeform 3369">
                <a:extLst>
                  <a:ext uri="{FF2B5EF4-FFF2-40B4-BE49-F238E27FC236}">
                    <a16:creationId xmlns:a16="http://schemas.microsoft.com/office/drawing/2014/main" id="{C97EAC57-790B-406E-873D-5B08693313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90635" y="263730"/>
                <a:ext cx="40083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3" name="Freeform 3370">
                <a:extLst>
                  <a:ext uri="{FF2B5EF4-FFF2-40B4-BE49-F238E27FC236}">
                    <a16:creationId xmlns:a16="http://schemas.microsoft.com/office/drawing/2014/main" id="{5C36C0F1-EBEC-4E63-8FC3-2198E1A66B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17233" y="81429"/>
                <a:ext cx="40083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4" name="Freeform 3371">
                <a:extLst>
                  <a:ext uri="{FF2B5EF4-FFF2-40B4-BE49-F238E27FC236}">
                    <a16:creationId xmlns:a16="http://schemas.microsoft.com/office/drawing/2014/main" id="{BDCC89BD-37C1-4F4D-99AF-AD794238F1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408227" y="753664"/>
                <a:ext cx="37219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5" name="Freeform 3372">
                <a:extLst>
                  <a:ext uri="{FF2B5EF4-FFF2-40B4-BE49-F238E27FC236}">
                    <a16:creationId xmlns:a16="http://schemas.microsoft.com/office/drawing/2014/main" id="{4C70049F-F054-4623-8466-F3BB1D7670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93706" y="619786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6" name="Freeform 3373">
                <a:extLst>
                  <a:ext uri="{FF2B5EF4-FFF2-40B4-BE49-F238E27FC236}">
                    <a16:creationId xmlns:a16="http://schemas.microsoft.com/office/drawing/2014/main" id="{E5C9C95C-4D3B-4FB5-94C6-F164F6F179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479807" y="636877"/>
                <a:ext cx="40083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7" name="Freeform 3374">
                <a:extLst>
                  <a:ext uri="{FF2B5EF4-FFF2-40B4-BE49-F238E27FC236}">
                    <a16:creationId xmlns:a16="http://schemas.microsoft.com/office/drawing/2014/main" id="{3FBF36EE-FAD3-43D7-88FF-7AF870A24BE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01466" y="1081236"/>
                <a:ext cx="37219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8" name="Freeform 3375">
                <a:extLst>
                  <a:ext uri="{FF2B5EF4-FFF2-40B4-BE49-F238E27FC236}">
                    <a16:creationId xmlns:a16="http://schemas.microsoft.com/office/drawing/2014/main" id="{447981F5-2E5C-418D-AE30-9DB659E7C6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4162" y="1260689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9" name="Freeform 3376">
                <a:extLst>
                  <a:ext uri="{FF2B5EF4-FFF2-40B4-BE49-F238E27FC236}">
                    <a16:creationId xmlns:a16="http://schemas.microsoft.com/office/drawing/2014/main" id="{1B7684C9-4C87-45C8-8B42-4AF6135329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65075" y="1106873"/>
                <a:ext cx="42945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0" name="Freeform 3377">
                <a:extLst>
                  <a:ext uri="{FF2B5EF4-FFF2-40B4-BE49-F238E27FC236}">
                    <a16:creationId xmlns:a16="http://schemas.microsoft.com/office/drawing/2014/main" id="{75AFF6DC-1657-4CF6-8134-80EEBF6B75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4162" y="1682259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1" name="Freeform 3378">
                <a:extLst>
                  <a:ext uri="{FF2B5EF4-FFF2-40B4-BE49-F238E27FC236}">
                    <a16:creationId xmlns:a16="http://schemas.microsoft.com/office/drawing/2014/main" id="{A426CC82-99C7-4BFC-9378-55D611E60B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21507" y="1898742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2" name="Freeform 3379">
                <a:extLst>
                  <a:ext uri="{FF2B5EF4-FFF2-40B4-BE49-F238E27FC236}">
                    <a16:creationId xmlns:a16="http://schemas.microsoft.com/office/drawing/2014/main" id="{6559EF09-0B8F-483A-8DE0-466F661625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73665" y="1944317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3" name="Freeform 3380">
                <a:extLst>
                  <a:ext uri="{FF2B5EF4-FFF2-40B4-BE49-F238E27FC236}">
                    <a16:creationId xmlns:a16="http://schemas.microsoft.com/office/drawing/2014/main" id="{975B6348-AD03-4015-A424-D6A97FCD44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61175" y="2138012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4" name="Freeform 3381">
                <a:extLst>
                  <a:ext uri="{FF2B5EF4-FFF2-40B4-BE49-F238E27FC236}">
                    <a16:creationId xmlns:a16="http://schemas.microsoft.com/office/drawing/2014/main" id="{8AB18F26-2A57-4108-A182-52B734615D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52172" y="2565279"/>
                <a:ext cx="37219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5" name="Freeform 3382">
                <a:extLst>
                  <a:ext uri="{FF2B5EF4-FFF2-40B4-BE49-F238E27FC236}">
                    <a16:creationId xmlns:a16="http://schemas.microsoft.com/office/drawing/2014/main" id="{010E88B7-834B-46B7-A99C-71BA76607B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282255" y="2089590"/>
                <a:ext cx="37219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6" name="Freeform 3383">
                <a:extLst>
                  <a:ext uri="{FF2B5EF4-FFF2-40B4-BE49-F238E27FC236}">
                    <a16:creationId xmlns:a16="http://schemas.microsoft.com/office/drawing/2014/main" id="{73DFB968-EA55-4A79-925F-64EA34238B4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69351" y="1727835"/>
                <a:ext cx="42945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7" name="Freeform 3384">
                <a:extLst>
                  <a:ext uri="{FF2B5EF4-FFF2-40B4-BE49-F238E27FC236}">
                    <a16:creationId xmlns:a16="http://schemas.microsoft.com/office/drawing/2014/main" id="{B61ED2AD-67AB-4074-BE2B-70F3F78BF4E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32130" y="1912987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8" name="Freeform 3385">
                <a:extLst>
                  <a:ext uri="{FF2B5EF4-FFF2-40B4-BE49-F238E27FC236}">
                    <a16:creationId xmlns:a16="http://schemas.microsoft.com/office/drawing/2014/main" id="{EB6442B2-DCDE-4BDF-ACD7-059034750F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03909" y="1961410"/>
                <a:ext cx="37219" cy="42728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9" name="Freeform 3386">
                <a:extLst>
                  <a:ext uri="{FF2B5EF4-FFF2-40B4-BE49-F238E27FC236}">
                    <a16:creationId xmlns:a16="http://schemas.microsoft.com/office/drawing/2014/main" id="{808868A4-E9F6-468F-B6C3-C057A7CAFD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21917" y="3454005"/>
                <a:ext cx="42945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0" name="Freeform 3387">
                <a:extLst>
                  <a:ext uri="{FF2B5EF4-FFF2-40B4-BE49-F238E27FC236}">
                    <a16:creationId xmlns:a16="http://schemas.microsoft.com/office/drawing/2014/main" id="{D08D65E1-4F37-435E-9DF3-B2D4C33E55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87157" y="3647700"/>
                <a:ext cx="42945" cy="39879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1" name="Freeform 3388">
                <a:extLst>
                  <a:ext uri="{FF2B5EF4-FFF2-40B4-BE49-F238E27FC236}">
                    <a16:creationId xmlns:a16="http://schemas.microsoft.com/office/drawing/2014/main" id="{A3BB07D6-F79F-4440-9EEA-0FED2A38B0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29896" y="3471123"/>
                <a:ext cx="40083" cy="3703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77564D9-7282-4F5B-A0A5-6F1E9FC33E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38425" y="-1255"/>
              <a:ext cx="1071258" cy="2710772"/>
            </a:xfrm>
            <a:custGeom>
              <a:avLst/>
              <a:gdLst>
                <a:gd name="T0" fmla="*/ 269 w 539"/>
                <a:gd name="T1" fmla="*/ 458 h 1362"/>
                <a:gd name="T2" fmla="*/ 328 w 539"/>
                <a:gd name="T3" fmla="*/ 519 h 1362"/>
                <a:gd name="T4" fmla="*/ 377 w 539"/>
                <a:gd name="T5" fmla="*/ 550 h 1362"/>
                <a:gd name="T6" fmla="*/ 170 w 539"/>
                <a:gd name="T7" fmla="*/ 532 h 1362"/>
                <a:gd name="T8" fmla="*/ 377 w 539"/>
                <a:gd name="T9" fmla="*/ 585 h 1362"/>
                <a:gd name="T10" fmla="*/ 174 w 539"/>
                <a:gd name="T11" fmla="*/ 574 h 1362"/>
                <a:gd name="T12" fmla="*/ 367 w 539"/>
                <a:gd name="T13" fmla="*/ 610 h 1362"/>
                <a:gd name="T14" fmla="*/ 371 w 539"/>
                <a:gd name="T15" fmla="*/ 651 h 1362"/>
                <a:gd name="T16" fmla="*/ 395 w 539"/>
                <a:gd name="T17" fmla="*/ 759 h 1362"/>
                <a:gd name="T18" fmla="*/ 534 w 539"/>
                <a:gd name="T19" fmla="*/ 1108 h 1362"/>
                <a:gd name="T20" fmla="*/ 138 w 539"/>
                <a:gd name="T21" fmla="*/ 1325 h 1362"/>
                <a:gd name="T22" fmla="*/ 60 w 539"/>
                <a:gd name="T23" fmla="*/ 954 h 1362"/>
                <a:gd name="T24" fmla="*/ 146 w 539"/>
                <a:gd name="T25" fmla="*/ 741 h 1362"/>
                <a:gd name="T26" fmla="*/ 189 w 539"/>
                <a:gd name="T27" fmla="*/ 635 h 1362"/>
                <a:gd name="T28" fmla="*/ 182 w 539"/>
                <a:gd name="T29" fmla="*/ 495 h 1362"/>
                <a:gd name="T30" fmla="*/ 278 w 539"/>
                <a:gd name="T31" fmla="*/ 0 h 1362"/>
                <a:gd name="T32" fmla="*/ 135 w 539"/>
                <a:gd name="T33" fmla="*/ 901 h 1362"/>
                <a:gd name="T34" fmla="*/ 184 w 539"/>
                <a:gd name="T35" fmla="*/ 1288 h 1362"/>
                <a:gd name="T36" fmla="*/ 352 w 539"/>
                <a:gd name="T37" fmla="*/ 779 h 1362"/>
                <a:gd name="T38" fmla="*/ 386 w 539"/>
                <a:gd name="T39" fmla="*/ 993 h 1362"/>
                <a:gd name="T40" fmla="*/ 278 w 539"/>
                <a:gd name="T41" fmla="*/ 987 h 1362"/>
                <a:gd name="T42" fmla="*/ 240 w 539"/>
                <a:gd name="T43" fmla="*/ 1030 h 1362"/>
                <a:gd name="T44" fmla="*/ 200 w 539"/>
                <a:gd name="T45" fmla="*/ 980 h 1362"/>
                <a:gd name="T46" fmla="*/ 181 w 539"/>
                <a:gd name="T47" fmla="*/ 961 h 1362"/>
                <a:gd name="T48" fmla="*/ 361 w 539"/>
                <a:gd name="T49" fmla="*/ 759 h 1362"/>
                <a:gd name="T50" fmla="*/ 340 w 539"/>
                <a:gd name="T51" fmla="*/ 1310 h 1362"/>
                <a:gd name="T52" fmla="*/ 505 w 539"/>
                <a:gd name="T53" fmla="*/ 1027 h 1362"/>
                <a:gd name="T54" fmla="*/ 260 w 539"/>
                <a:gd name="T55" fmla="*/ 717 h 1362"/>
                <a:gd name="T56" fmla="*/ 309 w 539"/>
                <a:gd name="T57" fmla="*/ 962 h 1362"/>
                <a:gd name="T58" fmla="*/ 211 w 539"/>
                <a:gd name="T59" fmla="*/ 680 h 1362"/>
                <a:gd name="T60" fmla="*/ 185 w 539"/>
                <a:gd name="T61" fmla="*/ 691 h 1362"/>
                <a:gd name="T62" fmla="*/ 162 w 539"/>
                <a:gd name="T63" fmla="*/ 725 h 1362"/>
                <a:gd name="T64" fmla="*/ 168 w 539"/>
                <a:gd name="T65" fmla="*/ 759 h 1362"/>
                <a:gd name="T66" fmla="*/ 200 w 539"/>
                <a:gd name="T67" fmla="*/ 757 h 1362"/>
                <a:gd name="T68" fmla="*/ 245 w 539"/>
                <a:gd name="T69" fmla="*/ 678 h 1362"/>
                <a:gd name="T70" fmla="*/ 229 w 539"/>
                <a:gd name="T71" fmla="*/ 1315 h 1362"/>
                <a:gd name="T72" fmla="*/ 418 w 539"/>
                <a:gd name="T73" fmla="*/ 931 h 1362"/>
                <a:gd name="T74" fmla="*/ 185 w 539"/>
                <a:gd name="T75" fmla="*/ 1297 h 1362"/>
                <a:gd name="T76" fmla="*/ 18 w 539"/>
                <a:gd name="T77" fmla="*/ 1089 h 1362"/>
                <a:gd name="T78" fmla="*/ 289 w 539"/>
                <a:gd name="T79" fmla="*/ 1343 h 1362"/>
                <a:gd name="T80" fmla="*/ 132 w 539"/>
                <a:gd name="T81" fmla="*/ 1269 h 1362"/>
                <a:gd name="T82" fmla="*/ 388 w 539"/>
                <a:gd name="T83" fmla="*/ 1312 h 1362"/>
                <a:gd name="T84" fmla="*/ 179 w 539"/>
                <a:gd name="T85" fmla="*/ 511 h 1362"/>
                <a:gd name="T86" fmla="*/ 371 w 539"/>
                <a:gd name="T87" fmla="*/ 623 h 1362"/>
                <a:gd name="T88" fmla="*/ 217 w 539"/>
                <a:gd name="T89" fmla="*/ 562 h 1362"/>
                <a:gd name="T90" fmla="*/ 180 w 539"/>
                <a:gd name="T91" fmla="*/ 604 h 1362"/>
                <a:gd name="T92" fmla="*/ 322 w 539"/>
                <a:gd name="T93" fmla="*/ 972 h 1362"/>
                <a:gd name="T94" fmla="*/ 68 w 539"/>
                <a:gd name="T95" fmla="*/ 983 h 1362"/>
                <a:gd name="T96" fmla="*/ 362 w 539"/>
                <a:gd name="T97" fmla="*/ 648 h 1362"/>
                <a:gd name="T98" fmla="*/ 520 w 539"/>
                <a:gd name="T99" fmla="*/ 1036 h 1362"/>
                <a:gd name="T100" fmla="*/ 301 w 539"/>
                <a:gd name="T101" fmla="*/ 692 h 1362"/>
                <a:gd name="T102" fmla="*/ 331 w 539"/>
                <a:gd name="T103" fmla="*/ 493 h 1362"/>
                <a:gd name="T104" fmla="*/ 390 w 539"/>
                <a:gd name="T105" fmla="*/ 790 h 1362"/>
                <a:gd name="T106" fmla="*/ 246 w 539"/>
                <a:gd name="T107" fmla="*/ 652 h 1362"/>
                <a:gd name="T108" fmla="*/ 159 w 539"/>
                <a:gd name="T109" fmla="*/ 992 h 1362"/>
                <a:gd name="T110" fmla="*/ 119 w 539"/>
                <a:gd name="T111" fmla="*/ 909 h 1362"/>
                <a:gd name="T112" fmla="*/ 306 w 539"/>
                <a:gd name="T113" fmla="*/ 677 h 1362"/>
                <a:gd name="T114" fmla="*/ 262 w 539"/>
                <a:gd name="T115" fmla="*/ 1044 h 1362"/>
                <a:gd name="T116" fmla="*/ 101 w 539"/>
                <a:gd name="T117" fmla="*/ 1268 h 1362"/>
                <a:gd name="T118" fmla="*/ 146 w 539"/>
                <a:gd name="T119" fmla="*/ 830 h 1362"/>
                <a:gd name="T120" fmla="*/ 310 w 539"/>
                <a:gd name="T121" fmla="*/ 684 h 1362"/>
                <a:gd name="T122" fmla="*/ 378 w 539"/>
                <a:gd name="T123" fmla="*/ 860 h 1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39" h="1362">
                  <a:moveTo>
                    <a:pt x="278" y="0"/>
                  </a:moveTo>
                  <a:cubicBezTo>
                    <a:pt x="277" y="8"/>
                    <a:pt x="275" y="16"/>
                    <a:pt x="274" y="24"/>
                  </a:cubicBezTo>
                  <a:cubicBezTo>
                    <a:pt x="273" y="78"/>
                    <a:pt x="272" y="132"/>
                    <a:pt x="271" y="186"/>
                  </a:cubicBezTo>
                  <a:cubicBezTo>
                    <a:pt x="270" y="276"/>
                    <a:pt x="270" y="367"/>
                    <a:pt x="269" y="458"/>
                  </a:cubicBezTo>
                  <a:cubicBezTo>
                    <a:pt x="269" y="472"/>
                    <a:pt x="273" y="476"/>
                    <a:pt x="286" y="477"/>
                  </a:cubicBezTo>
                  <a:cubicBezTo>
                    <a:pt x="297" y="477"/>
                    <a:pt x="307" y="479"/>
                    <a:pt x="317" y="482"/>
                  </a:cubicBezTo>
                  <a:cubicBezTo>
                    <a:pt x="324" y="485"/>
                    <a:pt x="335" y="489"/>
                    <a:pt x="337" y="495"/>
                  </a:cubicBezTo>
                  <a:cubicBezTo>
                    <a:pt x="339" y="501"/>
                    <a:pt x="332" y="510"/>
                    <a:pt x="328" y="519"/>
                  </a:cubicBezTo>
                  <a:cubicBezTo>
                    <a:pt x="340" y="522"/>
                    <a:pt x="354" y="526"/>
                    <a:pt x="367" y="530"/>
                  </a:cubicBezTo>
                  <a:cubicBezTo>
                    <a:pt x="371" y="531"/>
                    <a:pt x="376" y="532"/>
                    <a:pt x="379" y="535"/>
                  </a:cubicBezTo>
                  <a:cubicBezTo>
                    <a:pt x="383" y="537"/>
                    <a:pt x="385" y="541"/>
                    <a:pt x="387" y="544"/>
                  </a:cubicBezTo>
                  <a:cubicBezTo>
                    <a:pt x="384" y="546"/>
                    <a:pt x="381" y="550"/>
                    <a:pt x="377" y="550"/>
                  </a:cubicBezTo>
                  <a:cubicBezTo>
                    <a:pt x="367" y="552"/>
                    <a:pt x="356" y="555"/>
                    <a:pt x="345" y="554"/>
                  </a:cubicBezTo>
                  <a:cubicBezTo>
                    <a:pt x="303" y="549"/>
                    <a:pt x="262" y="544"/>
                    <a:pt x="221" y="537"/>
                  </a:cubicBezTo>
                  <a:cubicBezTo>
                    <a:pt x="210" y="536"/>
                    <a:pt x="198" y="532"/>
                    <a:pt x="188" y="526"/>
                  </a:cubicBezTo>
                  <a:cubicBezTo>
                    <a:pt x="179" y="520"/>
                    <a:pt x="175" y="525"/>
                    <a:pt x="170" y="532"/>
                  </a:cubicBezTo>
                  <a:cubicBezTo>
                    <a:pt x="180" y="548"/>
                    <a:pt x="192" y="554"/>
                    <a:pt x="212" y="553"/>
                  </a:cubicBezTo>
                  <a:cubicBezTo>
                    <a:pt x="261" y="549"/>
                    <a:pt x="310" y="554"/>
                    <a:pt x="358" y="567"/>
                  </a:cubicBezTo>
                  <a:cubicBezTo>
                    <a:pt x="365" y="569"/>
                    <a:pt x="371" y="575"/>
                    <a:pt x="377" y="579"/>
                  </a:cubicBezTo>
                  <a:cubicBezTo>
                    <a:pt x="377" y="581"/>
                    <a:pt x="377" y="583"/>
                    <a:pt x="377" y="585"/>
                  </a:cubicBezTo>
                  <a:cubicBezTo>
                    <a:pt x="369" y="587"/>
                    <a:pt x="361" y="590"/>
                    <a:pt x="353" y="590"/>
                  </a:cubicBezTo>
                  <a:cubicBezTo>
                    <a:pt x="304" y="590"/>
                    <a:pt x="256" y="585"/>
                    <a:pt x="210" y="569"/>
                  </a:cubicBezTo>
                  <a:cubicBezTo>
                    <a:pt x="206" y="568"/>
                    <a:pt x="202" y="564"/>
                    <a:pt x="198" y="565"/>
                  </a:cubicBezTo>
                  <a:cubicBezTo>
                    <a:pt x="190" y="567"/>
                    <a:pt x="182" y="571"/>
                    <a:pt x="174" y="574"/>
                  </a:cubicBezTo>
                  <a:cubicBezTo>
                    <a:pt x="179" y="579"/>
                    <a:pt x="182" y="587"/>
                    <a:pt x="189" y="589"/>
                  </a:cubicBezTo>
                  <a:cubicBezTo>
                    <a:pt x="196" y="592"/>
                    <a:pt x="205" y="591"/>
                    <a:pt x="213" y="591"/>
                  </a:cubicBezTo>
                  <a:cubicBezTo>
                    <a:pt x="258" y="595"/>
                    <a:pt x="304" y="599"/>
                    <a:pt x="349" y="603"/>
                  </a:cubicBezTo>
                  <a:cubicBezTo>
                    <a:pt x="355" y="603"/>
                    <a:pt x="362" y="606"/>
                    <a:pt x="367" y="610"/>
                  </a:cubicBezTo>
                  <a:cubicBezTo>
                    <a:pt x="372" y="612"/>
                    <a:pt x="375" y="617"/>
                    <a:pt x="379" y="622"/>
                  </a:cubicBezTo>
                  <a:cubicBezTo>
                    <a:pt x="375" y="625"/>
                    <a:pt x="371" y="628"/>
                    <a:pt x="367" y="630"/>
                  </a:cubicBezTo>
                  <a:cubicBezTo>
                    <a:pt x="364" y="632"/>
                    <a:pt x="361" y="633"/>
                    <a:pt x="359" y="633"/>
                  </a:cubicBezTo>
                  <a:cubicBezTo>
                    <a:pt x="363" y="639"/>
                    <a:pt x="367" y="645"/>
                    <a:pt x="371" y="651"/>
                  </a:cubicBezTo>
                  <a:cubicBezTo>
                    <a:pt x="364" y="654"/>
                    <a:pt x="358" y="660"/>
                    <a:pt x="351" y="660"/>
                  </a:cubicBezTo>
                  <a:cubicBezTo>
                    <a:pt x="336" y="662"/>
                    <a:pt x="321" y="661"/>
                    <a:pt x="304" y="661"/>
                  </a:cubicBezTo>
                  <a:cubicBezTo>
                    <a:pt x="318" y="668"/>
                    <a:pt x="329" y="677"/>
                    <a:pt x="342" y="682"/>
                  </a:cubicBezTo>
                  <a:cubicBezTo>
                    <a:pt x="377" y="696"/>
                    <a:pt x="395" y="725"/>
                    <a:pt x="395" y="759"/>
                  </a:cubicBezTo>
                  <a:cubicBezTo>
                    <a:pt x="396" y="805"/>
                    <a:pt x="417" y="840"/>
                    <a:pt x="440" y="876"/>
                  </a:cubicBezTo>
                  <a:cubicBezTo>
                    <a:pt x="464" y="914"/>
                    <a:pt x="491" y="950"/>
                    <a:pt x="512" y="989"/>
                  </a:cubicBezTo>
                  <a:cubicBezTo>
                    <a:pt x="523" y="1009"/>
                    <a:pt x="525" y="1035"/>
                    <a:pt x="529" y="1059"/>
                  </a:cubicBezTo>
                  <a:cubicBezTo>
                    <a:pt x="532" y="1075"/>
                    <a:pt x="533" y="1092"/>
                    <a:pt x="534" y="1108"/>
                  </a:cubicBezTo>
                  <a:cubicBezTo>
                    <a:pt x="539" y="1185"/>
                    <a:pt x="502" y="1241"/>
                    <a:pt x="444" y="1287"/>
                  </a:cubicBezTo>
                  <a:cubicBezTo>
                    <a:pt x="414" y="1311"/>
                    <a:pt x="380" y="1327"/>
                    <a:pt x="342" y="1335"/>
                  </a:cubicBezTo>
                  <a:cubicBezTo>
                    <a:pt x="321" y="1340"/>
                    <a:pt x="300" y="1348"/>
                    <a:pt x="279" y="1352"/>
                  </a:cubicBezTo>
                  <a:cubicBezTo>
                    <a:pt x="229" y="1362"/>
                    <a:pt x="181" y="1351"/>
                    <a:pt x="138" y="1325"/>
                  </a:cubicBezTo>
                  <a:cubicBezTo>
                    <a:pt x="83" y="1292"/>
                    <a:pt x="36" y="1249"/>
                    <a:pt x="14" y="1186"/>
                  </a:cubicBezTo>
                  <a:cubicBezTo>
                    <a:pt x="0" y="1149"/>
                    <a:pt x="2" y="1110"/>
                    <a:pt x="12" y="1072"/>
                  </a:cubicBezTo>
                  <a:cubicBezTo>
                    <a:pt x="17" y="1054"/>
                    <a:pt x="20" y="1036"/>
                    <a:pt x="27" y="1019"/>
                  </a:cubicBezTo>
                  <a:cubicBezTo>
                    <a:pt x="36" y="997"/>
                    <a:pt x="44" y="971"/>
                    <a:pt x="60" y="954"/>
                  </a:cubicBezTo>
                  <a:cubicBezTo>
                    <a:pt x="90" y="924"/>
                    <a:pt x="101" y="886"/>
                    <a:pt x="113" y="848"/>
                  </a:cubicBezTo>
                  <a:cubicBezTo>
                    <a:pt x="117" y="838"/>
                    <a:pt x="119" y="827"/>
                    <a:pt x="125" y="817"/>
                  </a:cubicBezTo>
                  <a:cubicBezTo>
                    <a:pt x="124" y="851"/>
                    <a:pt x="110" y="882"/>
                    <a:pt x="101" y="913"/>
                  </a:cubicBezTo>
                  <a:cubicBezTo>
                    <a:pt x="129" y="860"/>
                    <a:pt x="154" y="805"/>
                    <a:pt x="146" y="741"/>
                  </a:cubicBezTo>
                  <a:cubicBezTo>
                    <a:pt x="141" y="757"/>
                    <a:pt x="137" y="774"/>
                    <a:pt x="132" y="791"/>
                  </a:cubicBezTo>
                  <a:cubicBezTo>
                    <a:pt x="119" y="771"/>
                    <a:pt x="143" y="722"/>
                    <a:pt x="190" y="669"/>
                  </a:cubicBezTo>
                  <a:cubicBezTo>
                    <a:pt x="181" y="664"/>
                    <a:pt x="172" y="659"/>
                    <a:pt x="159" y="652"/>
                  </a:cubicBezTo>
                  <a:cubicBezTo>
                    <a:pt x="172" y="644"/>
                    <a:pt x="180" y="640"/>
                    <a:pt x="189" y="635"/>
                  </a:cubicBezTo>
                  <a:cubicBezTo>
                    <a:pt x="158" y="616"/>
                    <a:pt x="162" y="608"/>
                    <a:pt x="176" y="595"/>
                  </a:cubicBezTo>
                  <a:cubicBezTo>
                    <a:pt x="159" y="578"/>
                    <a:pt x="159" y="573"/>
                    <a:pt x="178" y="559"/>
                  </a:cubicBezTo>
                  <a:cubicBezTo>
                    <a:pt x="174" y="549"/>
                    <a:pt x="164" y="540"/>
                    <a:pt x="165" y="531"/>
                  </a:cubicBezTo>
                  <a:cubicBezTo>
                    <a:pt x="167" y="518"/>
                    <a:pt x="173" y="505"/>
                    <a:pt x="182" y="495"/>
                  </a:cubicBezTo>
                  <a:cubicBezTo>
                    <a:pt x="188" y="487"/>
                    <a:pt x="201" y="482"/>
                    <a:pt x="211" y="479"/>
                  </a:cubicBezTo>
                  <a:cubicBezTo>
                    <a:pt x="227" y="475"/>
                    <a:pt x="243" y="474"/>
                    <a:pt x="259" y="472"/>
                  </a:cubicBezTo>
                  <a:cubicBezTo>
                    <a:pt x="262" y="315"/>
                    <a:pt x="266" y="157"/>
                    <a:pt x="269" y="0"/>
                  </a:cubicBezTo>
                  <a:cubicBezTo>
                    <a:pt x="272" y="0"/>
                    <a:pt x="275" y="0"/>
                    <a:pt x="278" y="0"/>
                  </a:cubicBezTo>
                  <a:close/>
                  <a:moveTo>
                    <a:pt x="252" y="719"/>
                  </a:moveTo>
                  <a:cubicBezTo>
                    <a:pt x="227" y="724"/>
                    <a:pt x="213" y="737"/>
                    <a:pt x="206" y="762"/>
                  </a:cubicBezTo>
                  <a:cubicBezTo>
                    <a:pt x="196" y="803"/>
                    <a:pt x="183" y="842"/>
                    <a:pt x="155" y="875"/>
                  </a:cubicBezTo>
                  <a:cubicBezTo>
                    <a:pt x="148" y="883"/>
                    <a:pt x="141" y="892"/>
                    <a:pt x="135" y="901"/>
                  </a:cubicBezTo>
                  <a:cubicBezTo>
                    <a:pt x="119" y="928"/>
                    <a:pt x="106" y="956"/>
                    <a:pt x="88" y="981"/>
                  </a:cubicBezTo>
                  <a:cubicBezTo>
                    <a:pt x="72" y="1005"/>
                    <a:pt x="64" y="1030"/>
                    <a:pt x="62" y="1058"/>
                  </a:cubicBezTo>
                  <a:cubicBezTo>
                    <a:pt x="56" y="1131"/>
                    <a:pt x="74" y="1196"/>
                    <a:pt x="126" y="1249"/>
                  </a:cubicBezTo>
                  <a:cubicBezTo>
                    <a:pt x="143" y="1266"/>
                    <a:pt x="158" y="1283"/>
                    <a:pt x="184" y="1288"/>
                  </a:cubicBezTo>
                  <a:cubicBezTo>
                    <a:pt x="235" y="1297"/>
                    <a:pt x="284" y="1294"/>
                    <a:pt x="332" y="1275"/>
                  </a:cubicBezTo>
                  <a:cubicBezTo>
                    <a:pt x="436" y="1234"/>
                    <a:pt x="460" y="1168"/>
                    <a:pt x="455" y="1082"/>
                  </a:cubicBezTo>
                  <a:cubicBezTo>
                    <a:pt x="451" y="1008"/>
                    <a:pt x="416" y="941"/>
                    <a:pt x="381" y="876"/>
                  </a:cubicBezTo>
                  <a:cubicBezTo>
                    <a:pt x="364" y="846"/>
                    <a:pt x="352" y="814"/>
                    <a:pt x="352" y="779"/>
                  </a:cubicBezTo>
                  <a:cubicBezTo>
                    <a:pt x="352" y="750"/>
                    <a:pt x="335" y="731"/>
                    <a:pt x="305" y="727"/>
                  </a:cubicBezTo>
                  <a:cubicBezTo>
                    <a:pt x="291" y="799"/>
                    <a:pt x="291" y="871"/>
                    <a:pt x="311" y="943"/>
                  </a:cubicBezTo>
                  <a:cubicBezTo>
                    <a:pt x="315" y="957"/>
                    <a:pt x="320" y="962"/>
                    <a:pt x="335" y="962"/>
                  </a:cubicBezTo>
                  <a:cubicBezTo>
                    <a:pt x="358" y="961"/>
                    <a:pt x="379" y="974"/>
                    <a:pt x="386" y="993"/>
                  </a:cubicBezTo>
                  <a:cubicBezTo>
                    <a:pt x="393" y="1011"/>
                    <a:pt x="384" y="1023"/>
                    <a:pt x="365" y="1024"/>
                  </a:cubicBezTo>
                  <a:cubicBezTo>
                    <a:pt x="350" y="1024"/>
                    <a:pt x="337" y="1017"/>
                    <a:pt x="329" y="1005"/>
                  </a:cubicBezTo>
                  <a:cubicBezTo>
                    <a:pt x="322" y="995"/>
                    <a:pt x="316" y="984"/>
                    <a:pt x="309" y="971"/>
                  </a:cubicBezTo>
                  <a:cubicBezTo>
                    <a:pt x="299" y="976"/>
                    <a:pt x="288" y="981"/>
                    <a:pt x="278" y="987"/>
                  </a:cubicBezTo>
                  <a:cubicBezTo>
                    <a:pt x="270" y="991"/>
                    <a:pt x="266" y="996"/>
                    <a:pt x="271" y="1005"/>
                  </a:cubicBezTo>
                  <a:cubicBezTo>
                    <a:pt x="275" y="1012"/>
                    <a:pt x="277" y="1021"/>
                    <a:pt x="277" y="1029"/>
                  </a:cubicBezTo>
                  <a:cubicBezTo>
                    <a:pt x="276" y="1039"/>
                    <a:pt x="276" y="1051"/>
                    <a:pt x="263" y="1053"/>
                  </a:cubicBezTo>
                  <a:cubicBezTo>
                    <a:pt x="254" y="1055"/>
                    <a:pt x="240" y="1041"/>
                    <a:pt x="240" y="1030"/>
                  </a:cubicBezTo>
                  <a:cubicBezTo>
                    <a:pt x="240" y="1023"/>
                    <a:pt x="242" y="1016"/>
                    <a:pt x="244" y="1009"/>
                  </a:cubicBezTo>
                  <a:cubicBezTo>
                    <a:pt x="246" y="1004"/>
                    <a:pt x="250" y="999"/>
                    <a:pt x="254" y="992"/>
                  </a:cubicBezTo>
                  <a:cubicBezTo>
                    <a:pt x="240" y="986"/>
                    <a:pt x="227" y="979"/>
                    <a:pt x="213" y="975"/>
                  </a:cubicBezTo>
                  <a:cubicBezTo>
                    <a:pt x="210" y="974"/>
                    <a:pt x="204" y="977"/>
                    <a:pt x="200" y="980"/>
                  </a:cubicBezTo>
                  <a:cubicBezTo>
                    <a:pt x="191" y="987"/>
                    <a:pt x="182" y="996"/>
                    <a:pt x="173" y="1002"/>
                  </a:cubicBezTo>
                  <a:cubicBezTo>
                    <a:pt x="163" y="1009"/>
                    <a:pt x="154" y="1005"/>
                    <a:pt x="152" y="995"/>
                  </a:cubicBezTo>
                  <a:cubicBezTo>
                    <a:pt x="150" y="988"/>
                    <a:pt x="149" y="975"/>
                    <a:pt x="153" y="971"/>
                  </a:cubicBezTo>
                  <a:cubicBezTo>
                    <a:pt x="160" y="965"/>
                    <a:pt x="173" y="959"/>
                    <a:pt x="181" y="961"/>
                  </a:cubicBezTo>
                  <a:cubicBezTo>
                    <a:pt x="202" y="966"/>
                    <a:pt x="211" y="956"/>
                    <a:pt x="218" y="940"/>
                  </a:cubicBezTo>
                  <a:cubicBezTo>
                    <a:pt x="251" y="870"/>
                    <a:pt x="261" y="797"/>
                    <a:pt x="252" y="719"/>
                  </a:cubicBezTo>
                  <a:close/>
                  <a:moveTo>
                    <a:pt x="365" y="758"/>
                  </a:moveTo>
                  <a:cubicBezTo>
                    <a:pt x="364" y="759"/>
                    <a:pt x="363" y="759"/>
                    <a:pt x="361" y="759"/>
                  </a:cubicBezTo>
                  <a:cubicBezTo>
                    <a:pt x="367" y="779"/>
                    <a:pt x="374" y="798"/>
                    <a:pt x="379" y="818"/>
                  </a:cubicBezTo>
                  <a:cubicBezTo>
                    <a:pt x="391" y="860"/>
                    <a:pt x="405" y="899"/>
                    <a:pt x="431" y="936"/>
                  </a:cubicBezTo>
                  <a:cubicBezTo>
                    <a:pt x="476" y="1000"/>
                    <a:pt x="491" y="1072"/>
                    <a:pt x="472" y="1148"/>
                  </a:cubicBezTo>
                  <a:cubicBezTo>
                    <a:pt x="453" y="1222"/>
                    <a:pt x="415" y="1282"/>
                    <a:pt x="340" y="1310"/>
                  </a:cubicBezTo>
                  <a:cubicBezTo>
                    <a:pt x="314" y="1319"/>
                    <a:pt x="285" y="1323"/>
                    <a:pt x="260" y="1329"/>
                  </a:cubicBezTo>
                  <a:cubicBezTo>
                    <a:pt x="289" y="1334"/>
                    <a:pt x="319" y="1337"/>
                    <a:pt x="349" y="1321"/>
                  </a:cubicBezTo>
                  <a:cubicBezTo>
                    <a:pt x="425" y="1279"/>
                    <a:pt x="482" y="1220"/>
                    <a:pt x="510" y="1136"/>
                  </a:cubicBezTo>
                  <a:cubicBezTo>
                    <a:pt x="522" y="1098"/>
                    <a:pt x="524" y="1062"/>
                    <a:pt x="505" y="1027"/>
                  </a:cubicBezTo>
                  <a:cubicBezTo>
                    <a:pt x="491" y="1001"/>
                    <a:pt x="478" y="973"/>
                    <a:pt x="463" y="948"/>
                  </a:cubicBezTo>
                  <a:cubicBezTo>
                    <a:pt x="431" y="895"/>
                    <a:pt x="398" y="843"/>
                    <a:pt x="376" y="785"/>
                  </a:cubicBezTo>
                  <a:cubicBezTo>
                    <a:pt x="373" y="776"/>
                    <a:pt x="369" y="767"/>
                    <a:pt x="365" y="758"/>
                  </a:cubicBezTo>
                  <a:close/>
                  <a:moveTo>
                    <a:pt x="260" y="717"/>
                  </a:moveTo>
                  <a:cubicBezTo>
                    <a:pt x="270" y="806"/>
                    <a:pt x="257" y="888"/>
                    <a:pt x="214" y="965"/>
                  </a:cubicBezTo>
                  <a:cubicBezTo>
                    <a:pt x="228" y="972"/>
                    <a:pt x="243" y="979"/>
                    <a:pt x="257" y="985"/>
                  </a:cubicBezTo>
                  <a:cubicBezTo>
                    <a:pt x="260" y="987"/>
                    <a:pt x="264" y="986"/>
                    <a:pt x="266" y="985"/>
                  </a:cubicBezTo>
                  <a:cubicBezTo>
                    <a:pt x="280" y="978"/>
                    <a:pt x="293" y="970"/>
                    <a:pt x="309" y="962"/>
                  </a:cubicBezTo>
                  <a:cubicBezTo>
                    <a:pt x="283" y="884"/>
                    <a:pt x="284" y="804"/>
                    <a:pt x="297" y="722"/>
                  </a:cubicBezTo>
                  <a:cubicBezTo>
                    <a:pt x="285" y="721"/>
                    <a:pt x="275" y="719"/>
                    <a:pt x="260" y="717"/>
                  </a:cubicBezTo>
                  <a:close/>
                  <a:moveTo>
                    <a:pt x="211" y="683"/>
                  </a:moveTo>
                  <a:cubicBezTo>
                    <a:pt x="211" y="682"/>
                    <a:pt x="211" y="681"/>
                    <a:pt x="211" y="680"/>
                  </a:cubicBezTo>
                  <a:cubicBezTo>
                    <a:pt x="214" y="678"/>
                    <a:pt x="218" y="675"/>
                    <a:pt x="222" y="673"/>
                  </a:cubicBezTo>
                  <a:cubicBezTo>
                    <a:pt x="221" y="671"/>
                    <a:pt x="219" y="669"/>
                    <a:pt x="218" y="667"/>
                  </a:cubicBezTo>
                  <a:cubicBezTo>
                    <a:pt x="206" y="674"/>
                    <a:pt x="194" y="680"/>
                    <a:pt x="183" y="687"/>
                  </a:cubicBezTo>
                  <a:cubicBezTo>
                    <a:pt x="183" y="688"/>
                    <a:pt x="184" y="689"/>
                    <a:pt x="185" y="691"/>
                  </a:cubicBezTo>
                  <a:cubicBezTo>
                    <a:pt x="191" y="687"/>
                    <a:pt x="197" y="684"/>
                    <a:pt x="202" y="680"/>
                  </a:cubicBezTo>
                  <a:cubicBezTo>
                    <a:pt x="203" y="682"/>
                    <a:pt x="205" y="683"/>
                    <a:pt x="206" y="685"/>
                  </a:cubicBezTo>
                  <a:cubicBezTo>
                    <a:pt x="198" y="690"/>
                    <a:pt x="189" y="696"/>
                    <a:pt x="182" y="702"/>
                  </a:cubicBezTo>
                  <a:cubicBezTo>
                    <a:pt x="174" y="709"/>
                    <a:pt x="166" y="716"/>
                    <a:pt x="162" y="725"/>
                  </a:cubicBezTo>
                  <a:cubicBezTo>
                    <a:pt x="158" y="734"/>
                    <a:pt x="158" y="745"/>
                    <a:pt x="156" y="755"/>
                  </a:cubicBezTo>
                  <a:cubicBezTo>
                    <a:pt x="182" y="712"/>
                    <a:pt x="205" y="690"/>
                    <a:pt x="231" y="691"/>
                  </a:cubicBezTo>
                  <a:cubicBezTo>
                    <a:pt x="226" y="694"/>
                    <a:pt x="223" y="697"/>
                    <a:pt x="219" y="699"/>
                  </a:cubicBezTo>
                  <a:cubicBezTo>
                    <a:pt x="193" y="711"/>
                    <a:pt x="175" y="733"/>
                    <a:pt x="168" y="759"/>
                  </a:cubicBezTo>
                  <a:cubicBezTo>
                    <a:pt x="159" y="794"/>
                    <a:pt x="155" y="830"/>
                    <a:pt x="149" y="865"/>
                  </a:cubicBezTo>
                  <a:cubicBezTo>
                    <a:pt x="151" y="865"/>
                    <a:pt x="152" y="866"/>
                    <a:pt x="153" y="866"/>
                  </a:cubicBezTo>
                  <a:cubicBezTo>
                    <a:pt x="160" y="854"/>
                    <a:pt x="169" y="843"/>
                    <a:pt x="174" y="830"/>
                  </a:cubicBezTo>
                  <a:cubicBezTo>
                    <a:pt x="184" y="806"/>
                    <a:pt x="192" y="781"/>
                    <a:pt x="200" y="757"/>
                  </a:cubicBezTo>
                  <a:cubicBezTo>
                    <a:pt x="211" y="724"/>
                    <a:pt x="227" y="712"/>
                    <a:pt x="261" y="712"/>
                  </a:cubicBezTo>
                  <a:cubicBezTo>
                    <a:pt x="273" y="712"/>
                    <a:pt x="285" y="712"/>
                    <a:pt x="300" y="712"/>
                  </a:cubicBezTo>
                  <a:cubicBezTo>
                    <a:pt x="288" y="669"/>
                    <a:pt x="257" y="691"/>
                    <a:pt x="229" y="691"/>
                  </a:cubicBezTo>
                  <a:cubicBezTo>
                    <a:pt x="236" y="686"/>
                    <a:pt x="239" y="683"/>
                    <a:pt x="245" y="678"/>
                  </a:cubicBezTo>
                  <a:cubicBezTo>
                    <a:pt x="231" y="680"/>
                    <a:pt x="221" y="682"/>
                    <a:pt x="211" y="683"/>
                  </a:cubicBezTo>
                  <a:close/>
                  <a:moveTo>
                    <a:pt x="185" y="1297"/>
                  </a:moveTo>
                  <a:cubicBezTo>
                    <a:pt x="185" y="1298"/>
                    <a:pt x="184" y="1300"/>
                    <a:pt x="184" y="1302"/>
                  </a:cubicBezTo>
                  <a:cubicBezTo>
                    <a:pt x="199" y="1306"/>
                    <a:pt x="214" y="1313"/>
                    <a:pt x="229" y="1315"/>
                  </a:cubicBezTo>
                  <a:cubicBezTo>
                    <a:pt x="246" y="1318"/>
                    <a:pt x="265" y="1317"/>
                    <a:pt x="282" y="1316"/>
                  </a:cubicBezTo>
                  <a:cubicBezTo>
                    <a:pt x="331" y="1311"/>
                    <a:pt x="374" y="1293"/>
                    <a:pt x="406" y="1257"/>
                  </a:cubicBezTo>
                  <a:cubicBezTo>
                    <a:pt x="463" y="1193"/>
                    <a:pt x="483" y="1118"/>
                    <a:pt x="466" y="1034"/>
                  </a:cubicBezTo>
                  <a:cubicBezTo>
                    <a:pt x="458" y="996"/>
                    <a:pt x="441" y="962"/>
                    <a:pt x="418" y="931"/>
                  </a:cubicBezTo>
                  <a:cubicBezTo>
                    <a:pt x="421" y="942"/>
                    <a:pt x="425" y="953"/>
                    <a:pt x="429" y="963"/>
                  </a:cubicBezTo>
                  <a:cubicBezTo>
                    <a:pt x="453" y="1018"/>
                    <a:pt x="470" y="1073"/>
                    <a:pt x="460" y="1134"/>
                  </a:cubicBezTo>
                  <a:cubicBezTo>
                    <a:pt x="450" y="1199"/>
                    <a:pt x="416" y="1245"/>
                    <a:pt x="357" y="1273"/>
                  </a:cubicBezTo>
                  <a:cubicBezTo>
                    <a:pt x="303" y="1300"/>
                    <a:pt x="245" y="1304"/>
                    <a:pt x="185" y="1297"/>
                  </a:cubicBezTo>
                  <a:close/>
                  <a:moveTo>
                    <a:pt x="289" y="1343"/>
                  </a:moveTo>
                  <a:cubicBezTo>
                    <a:pt x="248" y="1333"/>
                    <a:pt x="208" y="1324"/>
                    <a:pt x="169" y="1311"/>
                  </a:cubicBezTo>
                  <a:cubicBezTo>
                    <a:pt x="113" y="1293"/>
                    <a:pt x="70" y="1258"/>
                    <a:pt x="45" y="1201"/>
                  </a:cubicBezTo>
                  <a:cubicBezTo>
                    <a:pt x="29" y="1165"/>
                    <a:pt x="18" y="1128"/>
                    <a:pt x="18" y="1089"/>
                  </a:cubicBezTo>
                  <a:cubicBezTo>
                    <a:pt x="8" y="1118"/>
                    <a:pt x="10" y="1147"/>
                    <a:pt x="19" y="1176"/>
                  </a:cubicBezTo>
                  <a:cubicBezTo>
                    <a:pt x="32" y="1221"/>
                    <a:pt x="61" y="1255"/>
                    <a:pt x="95" y="1284"/>
                  </a:cubicBezTo>
                  <a:cubicBezTo>
                    <a:pt x="144" y="1327"/>
                    <a:pt x="200" y="1353"/>
                    <a:pt x="267" y="1346"/>
                  </a:cubicBezTo>
                  <a:cubicBezTo>
                    <a:pt x="274" y="1346"/>
                    <a:pt x="282" y="1344"/>
                    <a:pt x="289" y="1343"/>
                  </a:cubicBezTo>
                  <a:close/>
                  <a:moveTo>
                    <a:pt x="132" y="1269"/>
                  </a:moveTo>
                  <a:cubicBezTo>
                    <a:pt x="71" y="1209"/>
                    <a:pt x="44" y="1136"/>
                    <a:pt x="52" y="1050"/>
                  </a:cubicBezTo>
                  <a:cubicBezTo>
                    <a:pt x="47" y="1078"/>
                    <a:pt x="44" y="1107"/>
                    <a:pt x="42" y="1135"/>
                  </a:cubicBezTo>
                  <a:cubicBezTo>
                    <a:pt x="39" y="1201"/>
                    <a:pt x="76" y="1242"/>
                    <a:pt x="132" y="1269"/>
                  </a:cubicBezTo>
                  <a:close/>
                  <a:moveTo>
                    <a:pt x="388" y="1312"/>
                  </a:moveTo>
                  <a:cubicBezTo>
                    <a:pt x="472" y="1277"/>
                    <a:pt x="536" y="1188"/>
                    <a:pt x="525" y="1111"/>
                  </a:cubicBezTo>
                  <a:cubicBezTo>
                    <a:pt x="512" y="1153"/>
                    <a:pt x="501" y="1194"/>
                    <a:pt x="472" y="1225"/>
                  </a:cubicBezTo>
                  <a:cubicBezTo>
                    <a:pt x="444" y="1257"/>
                    <a:pt x="413" y="1286"/>
                    <a:pt x="388" y="1312"/>
                  </a:cubicBezTo>
                  <a:close/>
                  <a:moveTo>
                    <a:pt x="373" y="542"/>
                  </a:moveTo>
                  <a:cubicBezTo>
                    <a:pt x="316" y="520"/>
                    <a:pt x="257" y="516"/>
                    <a:pt x="197" y="520"/>
                  </a:cubicBezTo>
                  <a:cubicBezTo>
                    <a:pt x="254" y="541"/>
                    <a:pt x="313" y="546"/>
                    <a:pt x="373" y="542"/>
                  </a:cubicBezTo>
                  <a:close/>
                  <a:moveTo>
                    <a:pt x="179" y="511"/>
                  </a:moveTo>
                  <a:cubicBezTo>
                    <a:pt x="216" y="511"/>
                    <a:pt x="251" y="511"/>
                    <a:pt x="286" y="511"/>
                  </a:cubicBezTo>
                  <a:cubicBezTo>
                    <a:pt x="270" y="500"/>
                    <a:pt x="263" y="475"/>
                    <a:pt x="235" y="482"/>
                  </a:cubicBezTo>
                  <a:cubicBezTo>
                    <a:pt x="215" y="488"/>
                    <a:pt x="192" y="486"/>
                    <a:pt x="179" y="511"/>
                  </a:cubicBezTo>
                  <a:close/>
                  <a:moveTo>
                    <a:pt x="371" y="623"/>
                  </a:moveTo>
                  <a:cubicBezTo>
                    <a:pt x="348" y="606"/>
                    <a:pt x="245" y="592"/>
                    <a:pt x="218" y="601"/>
                  </a:cubicBezTo>
                  <a:cubicBezTo>
                    <a:pt x="268" y="615"/>
                    <a:pt x="317" y="628"/>
                    <a:pt x="371" y="623"/>
                  </a:cubicBezTo>
                  <a:close/>
                  <a:moveTo>
                    <a:pt x="363" y="580"/>
                  </a:moveTo>
                  <a:cubicBezTo>
                    <a:pt x="316" y="562"/>
                    <a:pt x="267" y="557"/>
                    <a:pt x="217" y="562"/>
                  </a:cubicBezTo>
                  <a:cubicBezTo>
                    <a:pt x="264" y="578"/>
                    <a:pt x="313" y="584"/>
                    <a:pt x="363" y="580"/>
                  </a:cubicBezTo>
                  <a:close/>
                  <a:moveTo>
                    <a:pt x="289" y="628"/>
                  </a:moveTo>
                  <a:cubicBezTo>
                    <a:pt x="256" y="619"/>
                    <a:pt x="226" y="610"/>
                    <a:pt x="196" y="602"/>
                  </a:cubicBezTo>
                  <a:cubicBezTo>
                    <a:pt x="191" y="601"/>
                    <a:pt x="185" y="602"/>
                    <a:pt x="180" y="604"/>
                  </a:cubicBezTo>
                  <a:cubicBezTo>
                    <a:pt x="173" y="606"/>
                    <a:pt x="171" y="613"/>
                    <a:pt x="177" y="617"/>
                  </a:cubicBezTo>
                  <a:cubicBezTo>
                    <a:pt x="189" y="623"/>
                    <a:pt x="203" y="632"/>
                    <a:pt x="216" y="632"/>
                  </a:cubicBezTo>
                  <a:cubicBezTo>
                    <a:pt x="239" y="633"/>
                    <a:pt x="263" y="630"/>
                    <a:pt x="289" y="628"/>
                  </a:cubicBezTo>
                  <a:close/>
                  <a:moveTo>
                    <a:pt x="322" y="972"/>
                  </a:moveTo>
                  <a:cubicBezTo>
                    <a:pt x="326" y="997"/>
                    <a:pt x="342" y="1014"/>
                    <a:pt x="362" y="1015"/>
                  </a:cubicBezTo>
                  <a:cubicBezTo>
                    <a:pt x="378" y="1017"/>
                    <a:pt x="384" y="1008"/>
                    <a:pt x="378" y="994"/>
                  </a:cubicBezTo>
                  <a:cubicBezTo>
                    <a:pt x="369" y="974"/>
                    <a:pt x="350" y="967"/>
                    <a:pt x="322" y="972"/>
                  </a:cubicBezTo>
                  <a:close/>
                  <a:moveTo>
                    <a:pt x="68" y="983"/>
                  </a:moveTo>
                  <a:cubicBezTo>
                    <a:pt x="29" y="1022"/>
                    <a:pt x="12" y="1110"/>
                    <a:pt x="37" y="1147"/>
                  </a:cubicBezTo>
                  <a:cubicBezTo>
                    <a:pt x="28" y="1087"/>
                    <a:pt x="47" y="1035"/>
                    <a:pt x="68" y="983"/>
                  </a:cubicBezTo>
                  <a:close/>
                  <a:moveTo>
                    <a:pt x="241" y="640"/>
                  </a:moveTo>
                  <a:cubicBezTo>
                    <a:pt x="281" y="648"/>
                    <a:pt x="321" y="659"/>
                    <a:pt x="362" y="648"/>
                  </a:cubicBezTo>
                  <a:cubicBezTo>
                    <a:pt x="323" y="631"/>
                    <a:pt x="281" y="640"/>
                    <a:pt x="241" y="640"/>
                  </a:cubicBezTo>
                  <a:close/>
                  <a:moveTo>
                    <a:pt x="520" y="1036"/>
                  </a:moveTo>
                  <a:cubicBezTo>
                    <a:pt x="511" y="980"/>
                    <a:pt x="473" y="938"/>
                    <a:pt x="441" y="894"/>
                  </a:cubicBezTo>
                  <a:cubicBezTo>
                    <a:pt x="468" y="941"/>
                    <a:pt x="494" y="989"/>
                    <a:pt x="520" y="1036"/>
                  </a:cubicBezTo>
                  <a:close/>
                  <a:moveTo>
                    <a:pt x="301" y="692"/>
                  </a:moveTo>
                  <a:cubicBezTo>
                    <a:pt x="305" y="703"/>
                    <a:pt x="306" y="713"/>
                    <a:pt x="312" y="718"/>
                  </a:cubicBezTo>
                  <a:cubicBezTo>
                    <a:pt x="325" y="728"/>
                    <a:pt x="341" y="736"/>
                    <a:pt x="356" y="744"/>
                  </a:cubicBezTo>
                  <a:cubicBezTo>
                    <a:pt x="359" y="728"/>
                    <a:pt x="339" y="707"/>
                    <a:pt x="301" y="692"/>
                  </a:cubicBezTo>
                  <a:close/>
                  <a:moveTo>
                    <a:pt x="270" y="480"/>
                  </a:moveTo>
                  <a:cubicBezTo>
                    <a:pt x="281" y="501"/>
                    <a:pt x="295" y="508"/>
                    <a:pt x="312" y="508"/>
                  </a:cubicBezTo>
                  <a:cubicBezTo>
                    <a:pt x="318" y="508"/>
                    <a:pt x="325" y="504"/>
                    <a:pt x="332" y="501"/>
                  </a:cubicBezTo>
                  <a:cubicBezTo>
                    <a:pt x="331" y="499"/>
                    <a:pt x="331" y="496"/>
                    <a:pt x="331" y="493"/>
                  </a:cubicBezTo>
                  <a:cubicBezTo>
                    <a:pt x="312" y="489"/>
                    <a:pt x="293" y="485"/>
                    <a:pt x="270" y="480"/>
                  </a:cubicBezTo>
                  <a:close/>
                  <a:moveTo>
                    <a:pt x="359" y="707"/>
                  </a:moveTo>
                  <a:cubicBezTo>
                    <a:pt x="368" y="735"/>
                    <a:pt x="377" y="763"/>
                    <a:pt x="386" y="792"/>
                  </a:cubicBezTo>
                  <a:cubicBezTo>
                    <a:pt x="387" y="791"/>
                    <a:pt x="389" y="791"/>
                    <a:pt x="390" y="790"/>
                  </a:cubicBezTo>
                  <a:cubicBezTo>
                    <a:pt x="388" y="760"/>
                    <a:pt x="389" y="728"/>
                    <a:pt x="359" y="707"/>
                  </a:cubicBezTo>
                  <a:close/>
                  <a:moveTo>
                    <a:pt x="246" y="652"/>
                  </a:moveTo>
                  <a:cubicBezTo>
                    <a:pt x="209" y="639"/>
                    <a:pt x="193" y="639"/>
                    <a:pt x="176" y="652"/>
                  </a:cubicBezTo>
                  <a:cubicBezTo>
                    <a:pt x="198" y="670"/>
                    <a:pt x="220" y="656"/>
                    <a:pt x="246" y="652"/>
                  </a:cubicBezTo>
                  <a:close/>
                  <a:moveTo>
                    <a:pt x="195" y="974"/>
                  </a:moveTo>
                  <a:cubicBezTo>
                    <a:pt x="195" y="972"/>
                    <a:pt x="195" y="970"/>
                    <a:pt x="194" y="968"/>
                  </a:cubicBezTo>
                  <a:cubicBezTo>
                    <a:pt x="185" y="969"/>
                    <a:pt x="175" y="968"/>
                    <a:pt x="165" y="971"/>
                  </a:cubicBezTo>
                  <a:cubicBezTo>
                    <a:pt x="153" y="974"/>
                    <a:pt x="156" y="984"/>
                    <a:pt x="159" y="992"/>
                  </a:cubicBezTo>
                  <a:cubicBezTo>
                    <a:pt x="160" y="994"/>
                    <a:pt x="171" y="994"/>
                    <a:pt x="176" y="991"/>
                  </a:cubicBezTo>
                  <a:cubicBezTo>
                    <a:pt x="183" y="987"/>
                    <a:pt x="189" y="980"/>
                    <a:pt x="195" y="974"/>
                  </a:cubicBezTo>
                  <a:close/>
                  <a:moveTo>
                    <a:pt x="124" y="912"/>
                  </a:moveTo>
                  <a:cubicBezTo>
                    <a:pt x="122" y="911"/>
                    <a:pt x="120" y="910"/>
                    <a:pt x="119" y="909"/>
                  </a:cubicBezTo>
                  <a:cubicBezTo>
                    <a:pt x="101" y="930"/>
                    <a:pt x="82" y="950"/>
                    <a:pt x="81" y="981"/>
                  </a:cubicBezTo>
                  <a:cubicBezTo>
                    <a:pt x="95" y="958"/>
                    <a:pt x="109" y="935"/>
                    <a:pt x="124" y="912"/>
                  </a:cubicBezTo>
                  <a:close/>
                  <a:moveTo>
                    <a:pt x="229" y="669"/>
                  </a:moveTo>
                  <a:cubicBezTo>
                    <a:pt x="255" y="672"/>
                    <a:pt x="280" y="674"/>
                    <a:pt x="306" y="677"/>
                  </a:cubicBezTo>
                  <a:cubicBezTo>
                    <a:pt x="286" y="661"/>
                    <a:pt x="246" y="657"/>
                    <a:pt x="229" y="669"/>
                  </a:cubicBezTo>
                  <a:close/>
                  <a:moveTo>
                    <a:pt x="263" y="999"/>
                  </a:moveTo>
                  <a:cubicBezTo>
                    <a:pt x="245" y="1018"/>
                    <a:pt x="242" y="1028"/>
                    <a:pt x="252" y="1038"/>
                  </a:cubicBezTo>
                  <a:cubicBezTo>
                    <a:pt x="254" y="1041"/>
                    <a:pt x="259" y="1044"/>
                    <a:pt x="262" y="1044"/>
                  </a:cubicBezTo>
                  <a:cubicBezTo>
                    <a:pt x="265" y="1043"/>
                    <a:pt x="268" y="1037"/>
                    <a:pt x="268" y="1034"/>
                  </a:cubicBezTo>
                  <a:cubicBezTo>
                    <a:pt x="267" y="1023"/>
                    <a:pt x="265" y="1013"/>
                    <a:pt x="263" y="999"/>
                  </a:cubicBezTo>
                  <a:close/>
                  <a:moveTo>
                    <a:pt x="103" y="1264"/>
                  </a:moveTo>
                  <a:cubicBezTo>
                    <a:pt x="102" y="1265"/>
                    <a:pt x="101" y="1267"/>
                    <a:pt x="101" y="1268"/>
                  </a:cubicBezTo>
                  <a:cubicBezTo>
                    <a:pt x="125" y="1281"/>
                    <a:pt x="149" y="1294"/>
                    <a:pt x="173" y="1307"/>
                  </a:cubicBezTo>
                  <a:cubicBezTo>
                    <a:pt x="175" y="1305"/>
                    <a:pt x="176" y="1303"/>
                    <a:pt x="177" y="1301"/>
                  </a:cubicBezTo>
                  <a:cubicBezTo>
                    <a:pt x="152" y="1289"/>
                    <a:pt x="128" y="1276"/>
                    <a:pt x="103" y="1264"/>
                  </a:cubicBezTo>
                  <a:close/>
                  <a:moveTo>
                    <a:pt x="146" y="830"/>
                  </a:moveTo>
                  <a:cubicBezTo>
                    <a:pt x="138" y="851"/>
                    <a:pt x="130" y="872"/>
                    <a:pt x="123" y="893"/>
                  </a:cubicBezTo>
                  <a:cubicBezTo>
                    <a:pt x="141" y="876"/>
                    <a:pt x="144" y="853"/>
                    <a:pt x="146" y="830"/>
                  </a:cubicBezTo>
                  <a:close/>
                  <a:moveTo>
                    <a:pt x="352" y="713"/>
                  </a:moveTo>
                  <a:cubicBezTo>
                    <a:pt x="344" y="691"/>
                    <a:pt x="333" y="683"/>
                    <a:pt x="310" y="684"/>
                  </a:cubicBezTo>
                  <a:cubicBezTo>
                    <a:pt x="325" y="694"/>
                    <a:pt x="338" y="704"/>
                    <a:pt x="352" y="713"/>
                  </a:cubicBezTo>
                  <a:close/>
                  <a:moveTo>
                    <a:pt x="363" y="789"/>
                  </a:moveTo>
                  <a:cubicBezTo>
                    <a:pt x="361" y="790"/>
                    <a:pt x="359" y="790"/>
                    <a:pt x="357" y="791"/>
                  </a:cubicBezTo>
                  <a:cubicBezTo>
                    <a:pt x="364" y="814"/>
                    <a:pt x="371" y="837"/>
                    <a:pt x="378" y="860"/>
                  </a:cubicBezTo>
                  <a:cubicBezTo>
                    <a:pt x="380" y="860"/>
                    <a:pt x="381" y="859"/>
                    <a:pt x="383" y="859"/>
                  </a:cubicBezTo>
                  <a:cubicBezTo>
                    <a:pt x="376" y="836"/>
                    <a:pt x="370" y="813"/>
                    <a:pt x="363" y="78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4" name="Прямоугольник 3"/>
          <p:cNvSpPr/>
          <p:nvPr/>
        </p:nvSpPr>
        <p:spPr>
          <a:xfrm>
            <a:off x="2532063" y="3413253"/>
            <a:ext cx="472219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fontAlgn="auto">
              <a:spcAft>
                <a:spcPts val="0"/>
              </a:spcAft>
              <a:buNone/>
            </a:pPr>
            <a:r>
              <a:rPr lang="en-US" sz="36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Segoe UI" panose="020B0502040204020203" pitchFamily="34" charset="0"/>
              </a:rPr>
              <a:t>INFO@RUSTACK.RU</a:t>
            </a:r>
            <a:endParaRPr lang="ru-RU" sz="36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j-ea"/>
              <a:cs typeface="Segoe UI" panose="020B0502040204020203" pitchFamily="34" charset="0"/>
            </a:endParaRPr>
          </a:p>
        </p:txBody>
      </p:sp>
      <p:sp>
        <p:nvSpPr>
          <p:cNvPr id="249" name="Заголовок 1"/>
          <p:cNvSpPr txBox="1">
            <a:spLocks/>
          </p:cNvSpPr>
          <p:nvPr/>
        </p:nvSpPr>
        <p:spPr>
          <a:xfrm>
            <a:off x="2435476" y="2361199"/>
            <a:ext cx="6057899" cy="98302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7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Segoe UI" panose="020B0502040204020203" pitchFamily="34" charset="0"/>
              </a:rPr>
              <a:t>Rustack.ru</a:t>
            </a:r>
            <a:endParaRPr lang="ru-RU" sz="72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Segoe UI" panose="020B0502040204020203" pitchFamily="34" charset="0"/>
            </a:endParaRPr>
          </a:p>
          <a:p>
            <a:pPr fontAlgn="auto">
              <a:spcAft>
                <a:spcPts val="0"/>
              </a:spcAft>
            </a:pPr>
            <a:endParaRPr lang="ru-RU" sz="24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cs typeface="Segoe UI" panose="020B0502040204020203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776" y="545126"/>
            <a:ext cx="1170022" cy="1347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295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4" descr="http://www.tadviser.ru/images/thumb/b/b6/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/680px-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B1C1371C-7322-6142-870F-CDE647E8FD45}"/>
              </a:ext>
            </a:extLst>
          </p:cNvPr>
          <p:cNvSpPr/>
          <p:nvPr/>
        </p:nvSpPr>
        <p:spPr>
          <a:xfrm>
            <a:off x="470223" y="0"/>
            <a:ext cx="11721777" cy="751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Программные продукты для построения облачных платформ для высоконагруженных корпоративных и государственных информационных систем</a:t>
            </a:r>
            <a:endParaRPr lang="ru-RU" sz="2800" b="1" dirty="0">
              <a:latin typeface="+mn-lt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2775165-4435-344A-875F-F8E5CBD9E4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1939" y="2175971"/>
            <a:ext cx="3632106" cy="2658367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5C62A49-CB4D-1D41-8E00-BF9C6AD29D1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27626" y="2175971"/>
            <a:ext cx="3632105" cy="2658366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3358A67-5865-0C43-9CA2-63ACBE75BBE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96019" y="2175971"/>
            <a:ext cx="3431608" cy="2658367"/>
          </a:xfrm>
          <a:prstGeom prst="rect">
            <a:avLst/>
          </a:prstGeom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4099C2A9-6E5A-484D-A984-E6524446B95F}"/>
              </a:ext>
            </a:extLst>
          </p:cNvPr>
          <p:cNvSpPr/>
          <p:nvPr/>
        </p:nvSpPr>
        <p:spPr>
          <a:xfrm>
            <a:off x="1018715" y="1755641"/>
            <a:ext cx="3295859" cy="42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«РУСТЭК»</a:t>
            </a:r>
            <a:endParaRPr lang="ru-RU" sz="2800" b="1" dirty="0">
              <a:latin typeface="+mn-lt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591548CB-1A73-5243-A496-4387801BD7B2}"/>
              </a:ext>
            </a:extLst>
          </p:cNvPr>
          <p:cNvSpPr/>
          <p:nvPr/>
        </p:nvSpPr>
        <p:spPr>
          <a:xfrm>
            <a:off x="4802085" y="1753868"/>
            <a:ext cx="3058051" cy="42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«РУСТЭК.</a:t>
            </a:r>
            <a:r>
              <a:rPr lang="en-US" b="1" dirty="0"/>
              <a:t>VDI</a:t>
            </a:r>
            <a:r>
              <a:rPr lang="ru-RU" b="1" dirty="0"/>
              <a:t>»</a:t>
            </a:r>
            <a:endParaRPr lang="ru-RU" sz="2800" b="1" dirty="0">
              <a:latin typeface="+mn-lt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3F64430D-6167-5C4C-87A8-B6DF512B790C}"/>
              </a:ext>
            </a:extLst>
          </p:cNvPr>
          <p:cNvSpPr/>
          <p:nvPr/>
        </p:nvSpPr>
        <p:spPr>
          <a:xfrm>
            <a:off x="8308960" y="1738143"/>
            <a:ext cx="3295859" cy="42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«РУСТЭК.ЕСУ»</a:t>
            </a:r>
            <a:endParaRPr lang="ru-RU" sz="2800" b="1" dirty="0">
              <a:latin typeface="+mn-lt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68B41057-375C-774B-AB24-10898CA58E9B}"/>
              </a:ext>
            </a:extLst>
          </p:cNvPr>
          <p:cNvSpPr/>
          <p:nvPr/>
        </p:nvSpPr>
        <p:spPr>
          <a:xfrm>
            <a:off x="5771952" y="5002525"/>
            <a:ext cx="1835759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dirty="0">
                <a:solidFill>
                  <a:srgbClr val="6D6E70"/>
                </a:solidFill>
                <a:latin typeface="+mj-lt"/>
              </a:rPr>
              <a:t>Запись в реестре №12667</a:t>
            </a:r>
          </a:p>
        </p:txBody>
      </p:sp>
      <p:pic>
        <p:nvPicPr>
          <p:cNvPr id="77831" name="Picture 7">
            <a:extLst>
              <a:ext uri="{FF2B5EF4-FFF2-40B4-BE49-F238E27FC236}">
                <a16:creationId xmlns:a16="http://schemas.microsoft.com/office/drawing/2014/main" id="{4D68B4EF-5A90-E642-BFB6-E102B18D9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3113" y="4941331"/>
            <a:ext cx="748805" cy="468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CF92657F-C34E-0B43-821F-31A9D9FB98C0}"/>
              </a:ext>
            </a:extLst>
          </p:cNvPr>
          <p:cNvSpPr/>
          <p:nvPr/>
        </p:nvSpPr>
        <p:spPr>
          <a:xfrm>
            <a:off x="2130532" y="5002525"/>
            <a:ext cx="168507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dirty="0">
                <a:solidFill>
                  <a:srgbClr val="6D6E70"/>
                </a:solidFill>
                <a:latin typeface="+mj-lt"/>
              </a:rPr>
              <a:t>Запись в реестре №981</a:t>
            </a:r>
          </a:p>
        </p:txBody>
      </p:sp>
      <p:pic>
        <p:nvPicPr>
          <p:cNvPr id="32" name="Picture 7">
            <a:extLst>
              <a:ext uri="{FF2B5EF4-FFF2-40B4-BE49-F238E27FC236}">
                <a16:creationId xmlns:a16="http://schemas.microsoft.com/office/drawing/2014/main" id="{D2A0AE05-E352-B045-AB22-8586ACD739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9864" y="4941331"/>
            <a:ext cx="748805" cy="468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A71F4BAD-725E-554F-89E1-FF5C131233B9}"/>
              </a:ext>
            </a:extLst>
          </p:cNvPr>
          <p:cNvSpPr/>
          <p:nvPr/>
        </p:nvSpPr>
        <p:spPr>
          <a:xfrm>
            <a:off x="9245706" y="5002525"/>
            <a:ext cx="179728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dirty="0">
                <a:solidFill>
                  <a:srgbClr val="6D6E70"/>
                </a:solidFill>
              </a:rPr>
              <a:t>Запись в реестре № 6672</a:t>
            </a:r>
          </a:p>
        </p:txBody>
      </p:sp>
      <p:pic>
        <p:nvPicPr>
          <p:cNvPr id="34" name="Picture 7">
            <a:extLst>
              <a:ext uri="{FF2B5EF4-FFF2-40B4-BE49-F238E27FC236}">
                <a16:creationId xmlns:a16="http://schemas.microsoft.com/office/drawing/2014/main" id="{E1998265-CD0C-CB42-AB49-A63E02A7A5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6867" y="4941331"/>
            <a:ext cx="748805" cy="468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E2399191-D71B-414D-A2DC-F18688B7EA2D}"/>
              </a:ext>
            </a:extLst>
          </p:cNvPr>
          <p:cNvGrpSpPr/>
          <p:nvPr/>
        </p:nvGrpSpPr>
        <p:grpSpPr>
          <a:xfrm>
            <a:off x="-6623" y="0"/>
            <a:ext cx="313119" cy="6858000"/>
            <a:chOff x="-6623" y="0"/>
            <a:chExt cx="313119" cy="6858000"/>
          </a:xfrm>
        </p:grpSpPr>
        <p:pic>
          <p:nvPicPr>
            <p:cNvPr id="24" name="Рисунок 23">
              <a:extLst>
                <a:ext uri="{FF2B5EF4-FFF2-40B4-BE49-F238E27FC236}">
                  <a16:creationId xmlns:a16="http://schemas.microsoft.com/office/drawing/2014/main" id="{235AFC50-0DF6-814D-9AD2-31713D131C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10378" r="84564"/>
            <a:stretch/>
          </p:blipFill>
          <p:spPr>
            <a:xfrm>
              <a:off x="0" y="0"/>
              <a:ext cx="304801" cy="6858000"/>
            </a:xfrm>
            <a:prstGeom prst="rect">
              <a:avLst/>
            </a:prstGeom>
          </p:spPr>
        </p:pic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E8BF9519-22BC-2B4A-9B5D-BFA5F5EE3E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l="-3872"/>
            <a:stretch/>
          </p:blipFill>
          <p:spPr>
            <a:xfrm>
              <a:off x="-6623" y="5174"/>
              <a:ext cx="313119" cy="2996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17747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21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1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1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1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1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21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1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1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1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1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21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2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2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2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2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3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4" descr="http://www.tadviser.ru/images/thumb/b/b6/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/680px-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B1C1371C-7322-6142-870F-CDE647E8FD45}"/>
              </a:ext>
            </a:extLst>
          </p:cNvPr>
          <p:cNvSpPr/>
          <p:nvPr/>
        </p:nvSpPr>
        <p:spPr>
          <a:xfrm>
            <a:off x="470223" y="0"/>
            <a:ext cx="11721777" cy="751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Программные продукты для построения облачных платформ для высоконагруженных корпоративных и государственных информационных систем</a:t>
            </a:r>
            <a:endParaRPr lang="ru-RU" sz="2800" b="1" dirty="0">
              <a:latin typeface="+mn-lt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4099C2A9-6E5A-484D-A984-E6524446B95F}"/>
              </a:ext>
            </a:extLst>
          </p:cNvPr>
          <p:cNvSpPr/>
          <p:nvPr/>
        </p:nvSpPr>
        <p:spPr>
          <a:xfrm>
            <a:off x="1018715" y="1755641"/>
            <a:ext cx="3295859" cy="42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«РУСТЭК»</a:t>
            </a:r>
            <a:endParaRPr lang="ru-RU" sz="2800" b="1" dirty="0">
              <a:latin typeface="+mn-lt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591548CB-1A73-5243-A496-4387801BD7B2}"/>
              </a:ext>
            </a:extLst>
          </p:cNvPr>
          <p:cNvSpPr/>
          <p:nvPr/>
        </p:nvSpPr>
        <p:spPr>
          <a:xfrm>
            <a:off x="4802085" y="1753868"/>
            <a:ext cx="3058051" cy="42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«РУСТЭК.</a:t>
            </a:r>
            <a:r>
              <a:rPr lang="en-US" b="1" dirty="0"/>
              <a:t>VDI</a:t>
            </a:r>
            <a:r>
              <a:rPr lang="ru-RU" b="1" dirty="0"/>
              <a:t>»</a:t>
            </a:r>
            <a:endParaRPr lang="ru-RU" sz="2800" b="1" dirty="0">
              <a:latin typeface="+mn-lt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3F64430D-6167-5C4C-87A8-B6DF512B790C}"/>
              </a:ext>
            </a:extLst>
          </p:cNvPr>
          <p:cNvSpPr/>
          <p:nvPr/>
        </p:nvSpPr>
        <p:spPr>
          <a:xfrm>
            <a:off x="8308960" y="1738143"/>
            <a:ext cx="3295859" cy="42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«РУСТЭК.ЕСУ»</a:t>
            </a:r>
            <a:endParaRPr lang="ru-RU" sz="2800" b="1" dirty="0">
              <a:latin typeface="+mn-lt"/>
            </a:endParaRPr>
          </a:p>
        </p:txBody>
      </p: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E2399191-D71B-414D-A2DC-F18688B7EA2D}"/>
              </a:ext>
            </a:extLst>
          </p:cNvPr>
          <p:cNvGrpSpPr/>
          <p:nvPr/>
        </p:nvGrpSpPr>
        <p:grpSpPr>
          <a:xfrm>
            <a:off x="-6623" y="0"/>
            <a:ext cx="313119" cy="6858000"/>
            <a:chOff x="-6623" y="0"/>
            <a:chExt cx="313119" cy="6858000"/>
          </a:xfrm>
        </p:grpSpPr>
        <p:pic>
          <p:nvPicPr>
            <p:cNvPr id="24" name="Рисунок 23">
              <a:extLst>
                <a:ext uri="{FF2B5EF4-FFF2-40B4-BE49-F238E27FC236}">
                  <a16:creationId xmlns:a16="http://schemas.microsoft.com/office/drawing/2014/main" id="{235AFC50-0DF6-814D-9AD2-31713D131C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0378" r="84564"/>
            <a:stretch/>
          </p:blipFill>
          <p:spPr>
            <a:xfrm>
              <a:off x="0" y="0"/>
              <a:ext cx="304801" cy="6858000"/>
            </a:xfrm>
            <a:prstGeom prst="rect">
              <a:avLst/>
            </a:prstGeom>
          </p:spPr>
        </p:pic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E8BF9519-22BC-2B4A-9B5D-BFA5F5EE3E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-3872"/>
            <a:stretch/>
          </p:blipFill>
          <p:spPr>
            <a:xfrm>
              <a:off x="-6623" y="5174"/>
              <a:ext cx="313119" cy="299626"/>
            </a:xfrm>
            <a:prstGeom prst="rect">
              <a:avLst/>
            </a:prstGeom>
          </p:spPr>
        </p:pic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B5845D7C-D873-E840-A244-06DBDDB51578}"/>
              </a:ext>
            </a:extLst>
          </p:cNvPr>
          <p:cNvSpPr txBox="1"/>
          <p:nvPr/>
        </p:nvSpPr>
        <p:spPr>
          <a:xfrm>
            <a:off x="1315976" y="3181513"/>
            <a:ext cx="3148952" cy="2347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800"/>
              </a:spcAft>
            </a:pPr>
            <a:r>
              <a:rPr lang="en-US" sz="1400" dirty="0">
                <a:ea typeface="Roboto" panose="02000000000000000000" pitchFamily="2" charset="0"/>
              </a:rPr>
              <a:t>Vmware vSphere, Microsoft Hyper-V</a:t>
            </a:r>
            <a:endParaRPr lang="ru-RU" sz="1400" dirty="0">
              <a:ea typeface="Roboto" panose="02000000000000000000" pitchFamily="2" charset="0"/>
            </a:endParaRP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AC4919A0-0DD6-8B44-8B5F-348ABB7F1079}"/>
              </a:ext>
            </a:extLst>
          </p:cNvPr>
          <p:cNvCxnSpPr/>
          <p:nvPr/>
        </p:nvCxnSpPr>
        <p:spPr>
          <a:xfrm>
            <a:off x="852482" y="2604084"/>
            <a:ext cx="107523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4E2F3A25-7B67-6C46-80F5-1705034C1723}"/>
              </a:ext>
            </a:extLst>
          </p:cNvPr>
          <p:cNvSpPr txBox="1"/>
          <p:nvPr/>
        </p:nvSpPr>
        <p:spPr>
          <a:xfrm>
            <a:off x="5411805" y="3182361"/>
            <a:ext cx="2448331" cy="493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800"/>
              </a:spcAft>
            </a:pPr>
            <a:r>
              <a:rPr lang="en-US" sz="1400" dirty="0">
                <a:ea typeface="Roboto" panose="02000000000000000000" pitchFamily="2" charset="0"/>
              </a:rPr>
              <a:t>Vmware Horizon, Citrix Virtual Apps and Desktop</a:t>
            </a:r>
            <a:endParaRPr lang="ru-RU" sz="1400" dirty="0">
              <a:ea typeface="Roboto" panose="02000000000000000000" pitchFamily="2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DD2349D-383B-2246-B965-4CDD8C1E31CD}"/>
              </a:ext>
            </a:extLst>
          </p:cNvPr>
          <p:cNvSpPr txBox="1"/>
          <p:nvPr/>
        </p:nvSpPr>
        <p:spPr>
          <a:xfrm>
            <a:off x="8732723" y="3181513"/>
            <a:ext cx="2448331" cy="5958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  <a:spcAft>
                <a:spcPts val="800"/>
              </a:spcAft>
            </a:pPr>
            <a:r>
              <a:rPr lang="en-US" sz="1400" dirty="0">
                <a:ea typeface="Roboto" panose="02000000000000000000" pitchFamily="2" charset="0"/>
              </a:rPr>
              <a:t>VMWare.</a:t>
            </a:r>
            <a:r>
              <a:rPr lang="ru-RU" sz="1400" dirty="0">
                <a:ea typeface="Roboto" panose="02000000000000000000" pitchFamily="2" charset="0"/>
              </a:rPr>
              <a:t> </a:t>
            </a:r>
            <a:r>
              <a:rPr lang="en-US" sz="1400" dirty="0">
                <a:ea typeface="Roboto" panose="02000000000000000000" pitchFamily="2" charset="0"/>
              </a:rPr>
              <a:t>M</a:t>
            </a:r>
            <a:r>
              <a:rPr lang="en" sz="1400" dirty="0">
                <a:ea typeface="Roboto" panose="02000000000000000000" pitchFamily="2" charset="0"/>
              </a:rPr>
              <a:t>icrofocus..</a:t>
            </a:r>
          </a:p>
          <a:p>
            <a:pPr algn="ctr">
              <a:lnSpc>
                <a:spcPct val="120000"/>
              </a:lnSpc>
              <a:spcAft>
                <a:spcPts val="800"/>
              </a:spcAft>
            </a:pPr>
            <a:r>
              <a:rPr lang="ru-RU" sz="1400" dirty="0">
                <a:ea typeface="Roboto" panose="02000000000000000000" pitchFamily="2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41983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4" descr="http://www.tadviser.ru/images/thumb/b/b6/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/680px-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74421DA-0C18-9747-A1B9-F739DE065FC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61334" y="1468267"/>
            <a:ext cx="3494156" cy="1960733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8D38C198-F4A6-7648-ACCD-87C68F61B4A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1723" y="1468267"/>
            <a:ext cx="3209667" cy="2044345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EF96E7F-C65A-7D47-9A84-EE009C69D4F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65281" y="1532578"/>
            <a:ext cx="3352162" cy="1980034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76FCF4DA-3BD4-8B41-A1C1-3F0DBDDA74C0}"/>
              </a:ext>
            </a:extLst>
          </p:cNvPr>
          <p:cNvSpPr/>
          <p:nvPr/>
        </p:nvSpPr>
        <p:spPr>
          <a:xfrm>
            <a:off x="709405" y="4680156"/>
            <a:ext cx="11146084" cy="270657"/>
          </a:xfrm>
          <a:prstGeom prst="rect">
            <a:avLst/>
          </a:prstGeom>
          <a:solidFill>
            <a:srgbClr val="531178"/>
          </a:solidFill>
          <a:ln>
            <a:solidFill>
              <a:srgbClr val="5311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/>
              <a:t>Корпоративные реализации «РУСТЭК»</a:t>
            </a:r>
            <a:r>
              <a:rPr lang="en-US" sz="1800" dirty="0"/>
              <a:t> / </a:t>
            </a:r>
            <a:r>
              <a:rPr lang="ru-RU" sz="1800" dirty="0"/>
              <a:t>«РУСТЭК</a:t>
            </a:r>
            <a:r>
              <a:rPr lang="en-US" sz="1800" dirty="0"/>
              <a:t>.VDI</a:t>
            </a:r>
            <a:r>
              <a:rPr lang="ru-RU" sz="1800" dirty="0"/>
              <a:t>»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E0FE73E-66DD-5047-9D97-EBB3F97AA9E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66465" y="5265275"/>
            <a:ext cx="2306959" cy="854430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2912F4B-7EF8-2D4F-A827-4A21C4DB7F3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834442" y="5312367"/>
            <a:ext cx="1693916" cy="777819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EAEE70B4-469C-D74F-A8A5-0280780A85A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889006" y="5313617"/>
            <a:ext cx="1068413" cy="79291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63093C1C-409E-A44F-A885-80FC43AFEF1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765012" y="5312367"/>
            <a:ext cx="1207989" cy="854431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AB96F025-8BC0-0745-9E44-D2B26E34A9E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594237" y="5330683"/>
            <a:ext cx="1292487" cy="759503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A81AA4F9-F626-6A49-8745-092FD05F8D5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591546" y="5199646"/>
            <a:ext cx="1033919" cy="1079871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CE343FEF-F98E-3D4E-B275-B74A0890C469}"/>
              </a:ext>
            </a:extLst>
          </p:cNvPr>
          <p:cNvSpPr/>
          <p:nvPr/>
        </p:nvSpPr>
        <p:spPr>
          <a:xfrm>
            <a:off x="709406" y="307826"/>
            <a:ext cx="11146083" cy="270657"/>
          </a:xfrm>
          <a:prstGeom prst="rect">
            <a:avLst/>
          </a:prstGeom>
          <a:solidFill>
            <a:srgbClr val="531178"/>
          </a:solidFill>
          <a:ln>
            <a:solidFill>
              <a:srgbClr val="5311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/>
              <a:t>Коммерческие реализации «РУСТЭК.ЕСУ»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B3F0FE01-E5ED-004C-9F41-762AF53A0A44}"/>
              </a:ext>
            </a:extLst>
          </p:cNvPr>
          <p:cNvSpPr/>
          <p:nvPr/>
        </p:nvSpPr>
        <p:spPr>
          <a:xfrm>
            <a:off x="5079597" y="988777"/>
            <a:ext cx="22894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/>
              <a:t>SBCLOUD.RU </a:t>
            </a:r>
            <a:endParaRPr lang="ru-RU" dirty="0"/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72D6BE8C-073F-4941-B7C6-0F55650FE9FB}"/>
              </a:ext>
            </a:extLst>
          </p:cNvPr>
          <p:cNvSpPr/>
          <p:nvPr/>
        </p:nvSpPr>
        <p:spPr>
          <a:xfrm>
            <a:off x="996377" y="988776"/>
            <a:ext cx="273183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/>
              <a:t>TETCLOUD.COM </a:t>
            </a:r>
            <a:endParaRPr lang="ru-RU" dirty="0"/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8073201E-15EA-8F42-9B7C-2C8F72547F38}"/>
              </a:ext>
            </a:extLst>
          </p:cNvPr>
          <p:cNvSpPr/>
          <p:nvPr/>
        </p:nvSpPr>
        <p:spPr>
          <a:xfrm>
            <a:off x="9263469" y="988776"/>
            <a:ext cx="168988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" sz="2400" dirty="0"/>
              <a:t>MEPHI.RU</a:t>
            </a:r>
            <a:endParaRPr lang="ru-RU" dirty="0"/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25E8B733-19C4-094B-B860-88352D5B857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518730" y="2561107"/>
            <a:ext cx="1176654" cy="270686"/>
          </a:xfrm>
          <a:prstGeom prst="rect">
            <a:avLst/>
          </a:prstGeom>
        </p:spPr>
      </p:pic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6A45A67F-ECBB-324F-B971-1BC5FF8C049A}"/>
              </a:ext>
            </a:extLst>
          </p:cNvPr>
          <p:cNvGrpSpPr/>
          <p:nvPr/>
        </p:nvGrpSpPr>
        <p:grpSpPr>
          <a:xfrm>
            <a:off x="-6623" y="0"/>
            <a:ext cx="313119" cy="6858000"/>
            <a:chOff x="-6623" y="0"/>
            <a:chExt cx="313119" cy="6858000"/>
          </a:xfrm>
        </p:grpSpPr>
        <p:pic>
          <p:nvPicPr>
            <p:cNvPr id="29" name="Рисунок 28">
              <a:extLst>
                <a:ext uri="{FF2B5EF4-FFF2-40B4-BE49-F238E27FC236}">
                  <a16:creationId xmlns:a16="http://schemas.microsoft.com/office/drawing/2014/main" id="{4A802348-5B60-2845-B190-855CCF5B43A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l="10378" r="84564"/>
            <a:stretch/>
          </p:blipFill>
          <p:spPr>
            <a:xfrm>
              <a:off x="0" y="0"/>
              <a:ext cx="304801" cy="6858000"/>
            </a:xfrm>
            <a:prstGeom prst="rect">
              <a:avLst/>
            </a:prstGeom>
          </p:spPr>
        </p:pic>
        <p:pic>
          <p:nvPicPr>
            <p:cNvPr id="31" name="Рисунок 30">
              <a:extLst>
                <a:ext uri="{FF2B5EF4-FFF2-40B4-BE49-F238E27FC236}">
                  <a16:creationId xmlns:a16="http://schemas.microsoft.com/office/drawing/2014/main" id="{7687DFFA-6C00-FC45-94E4-10F937ACDC3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/>
            <a:srcRect l="-3872"/>
            <a:stretch/>
          </p:blipFill>
          <p:spPr>
            <a:xfrm>
              <a:off x="-6623" y="5174"/>
              <a:ext cx="313119" cy="2996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08357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8" y="0"/>
            <a:ext cx="12192007" cy="6886668"/>
          </a:xfrm>
          <a:prstGeom prst="rect">
            <a:avLst/>
          </a:prstGeom>
        </p:spPr>
      </p:pic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4" descr="http://www.tadviser.ru/images/thumb/b/b6/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/680px-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Скругленный прямоугольник 10"/>
          <p:cNvSpPr/>
          <p:nvPr/>
        </p:nvSpPr>
        <p:spPr>
          <a:xfrm rot="10800000">
            <a:off x="1270035" y="2981146"/>
            <a:ext cx="9348859" cy="88547"/>
          </a:xfrm>
          <a:custGeom>
            <a:avLst/>
            <a:gdLst>
              <a:gd name="connsiteX0" fmla="*/ 0 w 5227536"/>
              <a:gd name="connsiteY0" fmla="*/ 203708 h 1222224"/>
              <a:gd name="connsiteX1" fmla="*/ 203708 w 5227536"/>
              <a:gd name="connsiteY1" fmla="*/ 0 h 1222224"/>
              <a:gd name="connsiteX2" fmla="*/ 5023828 w 5227536"/>
              <a:gd name="connsiteY2" fmla="*/ 0 h 1222224"/>
              <a:gd name="connsiteX3" fmla="*/ 5227536 w 5227536"/>
              <a:gd name="connsiteY3" fmla="*/ 203708 h 1222224"/>
              <a:gd name="connsiteX4" fmla="*/ 5227536 w 5227536"/>
              <a:gd name="connsiteY4" fmla="*/ 1018516 h 1222224"/>
              <a:gd name="connsiteX5" fmla="*/ 5023828 w 5227536"/>
              <a:gd name="connsiteY5" fmla="*/ 1222224 h 1222224"/>
              <a:gd name="connsiteX6" fmla="*/ 203708 w 5227536"/>
              <a:gd name="connsiteY6" fmla="*/ 1222224 h 1222224"/>
              <a:gd name="connsiteX7" fmla="*/ 0 w 5227536"/>
              <a:gd name="connsiteY7" fmla="*/ 1018516 h 1222224"/>
              <a:gd name="connsiteX8" fmla="*/ 0 w 5227536"/>
              <a:gd name="connsiteY8" fmla="*/ 203708 h 1222224"/>
              <a:gd name="connsiteX0" fmla="*/ 0 w 5227536"/>
              <a:gd name="connsiteY0" fmla="*/ 203708 h 1222224"/>
              <a:gd name="connsiteX1" fmla="*/ 203708 w 5227536"/>
              <a:gd name="connsiteY1" fmla="*/ 0 h 1222224"/>
              <a:gd name="connsiteX2" fmla="*/ 5023828 w 5227536"/>
              <a:gd name="connsiteY2" fmla="*/ 0 h 1222224"/>
              <a:gd name="connsiteX3" fmla="*/ 5227536 w 5227536"/>
              <a:gd name="connsiteY3" fmla="*/ 203708 h 1222224"/>
              <a:gd name="connsiteX4" fmla="*/ 5227536 w 5227536"/>
              <a:gd name="connsiteY4" fmla="*/ 1018516 h 1222224"/>
              <a:gd name="connsiteX5" fmla="*/ 5023828 w 5227536"/>
              <a:gd name="connsiteY5" fmla="*/ 1222224 h 1222224"/>
              <a:gd name="connsiteX6" fmla="*/ 203708 w 5227536"/>
              <a:gd name="connsiteY6" fmla="*/ 1222224 h 1222224"/>
              <a:gd name="connsiteX7" fmla="*/ 0 w 5227536"/>
              <a:gd name="connsiteY7" fmla="*/ 1018516 h 1222224"/>
              <a:gd name="connsiteX8" fmla="*/ 0 w 5227536"/>
              <a:gd name="connsiteY8" fmla="*/ 203708 h 1222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27536" h="1222224">
                <a:moveTo>
                  <a:pt x="0" y="203708"/>
                </a:moveTo>
                <a:cubicBezTo>
                  <a:pt x="0" y="91203"/>
                  <a:pt x="91203" y="0"/>
                  <a:pt x="203708" y="0"/>
                </a:cubicBezTo>
                <a:lnTo>
                  <a:pt x="5023828" y="0"/>
                </a:lnTo>
                <a:cubicBezTo>
                  <a:pt x="5136333" y="0"/>
                  <a:pt x="5227536" y="91203"/>
                  <a:pt x="5227536" y="203708"/>
                </a:cubicBezTo>
                <a:lnTo>
                  <a:pt x="5227536" y="1018516"/>
                </a:lnTo>
                <a:cubicBezTo>
                  <a:pt x="5227536" y="1131021"/>
                  <a:pt x="5136333" y="1222224"/>
                  <a:pt x="5023828" y="1222224"/>
                </a:cubicBezTo>
                <a:lnTo>
                  <a:pt x="203708" y="1222224"/>
                </a:lnTo>
                <a:cubicBezTo>
                  <a:pt x="91203" y="1222224"/>
                  <a:pt x="0" y="1131021"/>
                  <a:pt x="0" y="1018516"/>
                </a:cubicBezTo>
                <a:lnTo>
                  <a:pt x="0" y="203708"/>
                </a:lnTo>
                <a:close/>
              </a:path>
            </a:pathLst>
          </a:custGeom>
          <a:gradFill flip="none" rotWithShape="1">
            <a:gsLst>
              <a:gs pos="0">
                <a:srgbClr val="69138E">
                  <a:lumMod val="94000"/>
                  <a:lumOff val="6000"/>
                  <a:alpha val="0"/>
                </a:srgbClr>
              </a:gs>
              <a:gs pos="27000">
                <a:srgbClr val="7E1D9E">
                  <a:alpha val="61000"/>
                </a:srgbClr>
              </a:gs>
              <a:gs pos="65000">
                <a:srgbClr val="9D2FA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7"/>
          <a:srcRect l="-3872"/>
          <a:stretch/>
        </p:blipFill>
        <p:spPr>
          <a:xfrm>
            <a:off x="368300" y="28668"/>
            <a:ext cx="1231900" cy="1234075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24BFCF4-E4DF-4F43-8A91-E0DC1B092ED7}"/>
              </a:ext>
            </a:extLst>
          </p:cNvPr>
          <p:cNvSpPr/>
          <p:nvPr/>
        </p:nvSpPr>
        <p:spPr>
          <a:xfrm>
            <a:off x="1" y="3049738"/>
            <a:ext cx="1219199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solidFill>
                  <a:schemeClr val="bg1"/>
                </a:solidFill>
              </a:rPr>
              <a:t>Российская сервисная платформа виртуализации для создания и управления ИТ-инфраструктурой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DBB5CB53-90D1-724A-BB5E-10C3CD312D3E}"/>
              </a:ext>
            </a:extLst>
          </p:cNvPr>
          <p:cNvSpPr/>
          <p:nvPr/>
        </p:nvSpPr>
        <p:spPr>
          <a:xfrm>
            <a:off x="0" y="1746519"/>
            <a:ext cx="1219199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>
                <a:solidFill>
                  <a:schemeClr val="bg1"/>
                </a:solidFill>
                <a:latin typeface="Azonix" pitchFamily="50" charset="0"/>
              </a:rPr>
              <a:t>«РУСТЭК»</a:t>
            </a:r>
            <a:endParaRPr lang="en-US" sz="7200" dirty="0">
              <a:solidFill>
                <a:schemeClr val="bg1"/>
              </a:solidFill>
              <a:latin typeface="Azonix" pitchFamily="50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B36A24D7-BD47-9845-8C4C-4C3E28456BD4}"/>
              </a:ext>
            </a:extLst>
          </p:cNvPr>
          <p:cNvSpPr/>
          <p:nvPr/>
        </p:nvSpPr>
        <p:spPr>
          <a:xfrm>
            <a:off x="4631672" y="4770605"/>
            <a:ext cx="31712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6D6E70"/>
                </a:solidFill>
                <a:latin typeface="+mj-lt"/>
              </a:rPr>
              <a:t>Запись в реестре №981</a:t>
            </a:r>
          </a:p>
        </p:txBody>
      </p:sp>
      <p:pic>
        <p:nvPicPr>
          <p:cNvPr id="12" name="Picture 7">
            <a:extLst>
              <a:ext uri="{FF2B5EF4-FFF2-40B4-BE49-F238E27FC236}">
                <a16:creationId xmlns:a16="http://schemas.microsoft.com/office/drawing/2014/main" id="{7FC13209-AF3D-0E46-99C3-886E8264E6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6315" y="4525092"/>
            <a:ext cx="1526573" cy="954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4303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4" descr="http://www.tadviser.ru/images/thumb/b/b6/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/680px-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C7B604D9-6F55-9F42-BE54-DA1DF3BD69E9}"/>
              </a:ext>
            </a:extLst>
          </p:cNvPr>
          <p:cNvGrpSpPr/>
          <p:nvPr/>
        </p:nvGrpSpPr>
        <p:grpSpPr>
          <a:xfrm>
            <a:off x="-6623" y="0"/>
            <a:ext cx="313119" cy="6858000"/>
            <a:chOff x="-6623" y="0"/>
            <a:chExt cx="313119" cy="6858000"/>
          </a:xfrm>
        </p:grpSpPr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CB121828-F665-B54E-9DCE-1CEE88402D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0378" r="84564"/>
            <a:stretch/>
          </p:blipFill>
          <p:spPr>
            <a:xfrm>
              <a:off x="0" y="0"/>
              <a:ext cx="304801" cy="6858000"/>
            </a:xfrm>
            <a:prstGeom prst="rect">
              <a:avLst/>
            </a:prstGeom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33B6296A-7477-E04E-AE7C-0B2416A138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-3872"/>
            <a:stretch/>
          </p:blipFill>
          <p:spPr>
            <a:xfrm>
              <a:off x="-6623" y="5174"/>
              <a:ext cx="313119" cy="299626"/>
            </a:xfrm>
            <a:prstGeom prst="rect">
              <a:avLst/>
            </a:prstGeom>
          </p:spPr>
        </p:pic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272025D-4BA7-2842-B568-237C45B154F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337147" y="1703688"/>
            <a:ext cx="361950" cy="412750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F99AF473-5BB4-1F42-8756-3F923B6316F3}"/>
              </a:ext>
            </a:extLst>
          </p:cNvPr>
          <p:cNvSpPr/>
          <p:nvPr/>
        </p:nvSpPr>
        <p:spPr>
          <a:xfrm>
            <a:off x="304801" y="396602"/>
            <a:ext cx="118871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2400" b="1" dirty="0"/>
              <a:t>«РУСТЭК» - Преимущество для клиентов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7E2825AE-1EF5-F344-96DE-5FEC564FF219}"/>
              </a:ext>
            </a:extLst>
          </p:cNvPr>
          <p:cNvSpPr/>
          <p:nvPr/>
        </p:nvSpPr>
        <p:spPr>
          <a:xfrm>
            <a:off x="1770434" y="1703688"/>
            <a:ext cx="9970852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ru-RU" sz="2000" dirty="0"/>
              <a:t>Внесена в Реестр российского ПО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ru-RU" sz="2000" dirty="0"/>
              <a:t>Совместима с популярными российскими ОС </a:t>
            </a:r>
            <a:r>
              <a:rPr lang="en-US" sz="2000" dirty="0"/>
              <a:t>AstraLinux, AltLinux,  </a:t>
            </a:r>
            <a:r>
              <a:rPr lang="ru-RU" sz="2000" dirty="0"/>
              <a:t>РОСА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ru-RU" sz="2000" dirty="0"/>
              <a:t>Единственная в России платформа виртуализации, сертифицированная </a:t>
            </a:r>
            <a:r>
              <a:rPr lang="en-US" sz="2000" dirty="0"/>
              <a:t>Citrix </a:t>
            </a:r>
            <a:r>
              <a:rPr lang="ru-RU" sz="2000" dirty="0"/>
              <a:t>для развертывания </a:t>
            </a:r>
            <a:r>
              <a:rPr lang="en-US" sz="2000" dirty="0"/>
              <a:t>Citrix VDI</a:t>
            </a:r>
            <a:endParaRPr lang="ru-RU" sz="2000" dirty="0"/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ru-RU" sz="2000" dirty="0"/>
              <a:t>Обладает всем необходимым функционалом для построения корпоративной виртуальной инфраструктуры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ru-RU" sz="2000" dirty="0"/>
              <a:t>Более 10 лет на рынке. Многочисленные внедрения в крупных корпорациях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3DEB70FE-26D6-0C40-AC94-890471B108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327419" y="2308225"/>
            <a:ext cx="361950" cy="41275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88E115CE-FB92-A143-8F09-484902D9242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327419" y="2912762"/>
            <a:ext cx="361950" cy="412750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BADCFCEC-CEE4-6D4D-BE67-6DA8CAC2AC2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327419" y="3827162"/>
            <a:ext cx="361950" cy="412750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BA9D477B-9F62-4B4A-A5F1-0E3E090BA3F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327419" y="4741562"/>
            <a:ext cx="361950" cy="412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409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4" descr="http://www.tadviser.ru/images/thumb/b/b6/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/680px-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C7B604D9-6F55-9F42-BE54-DA1DF3BD69E9}"/>
              </a:ext>
            </a:extLst>
          </p:cNvPr>
          <p:cNvGrpSpPr/>
          <p:nvPr/>
        </p:nvGrpSpPr>
        <p:grpSpPr>
          <a:xfrm>
            <a:off x="-6623" y="0"/>
            <a:ext cx="313119" cy="6858000"/>
            <a:chOff x="-6623" y="0"/>
            <a:chExt cx="313119" cy="6858000"/>
          </a:xfrm>
        </p:grpSpPr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CB121828-F665-B54E-9DCE-1CEE88402D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0378" r="84564"/>
            <a:stretch/>
          </p:blipFill>
          <p:spPr>
            <a:xfrm>
              <a:off x="0" y="0"/>
              <a:ext cx="304801" cy="6858000"/>
            </a:xfrm>
            <a:prstGeom prst="rect">
              <a:avLst/>
            </a:prstGeom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33B6296A-7477-E04E-AE7C-0B2416A138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-3872"/>
            <a:stretch/>
          </p:blipFill>
          <p:spPr>
            <a:xfrm>
              <a:off x="-6623" y="5174"/>
              <a:ext cx="313119" cy="299626"/>
            </a:xfrm>
            <a:prstGeom prst="rect">
              <a:avLst/>
            </a:prstGeom>
          </p:spPr>
        </p:pic>
      </p:grp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81B77DA-48FE-E34E-9275-837BFA5ACC24}"/>
              </a:ext>
            </a:extLst>
          </p:cNvPr>
          <p:cNvSpPr/>
          <p:nvPr/>
        </p:nvSpPr>
        <p:spPr>
          <a:xfrm>
            <a:off x="304802" y="396602"/>
            <a:ext cx="118871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2400" b="1" dirty="0"/>
              <a:t>«РУСТЭК» - Архитектура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3E858B85-E66A-E444-8C13-E546CE72FC14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56041" y="1018445"/>
            <a:ext cx="11348501" cy="5024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58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4" descr="http://www.tadviser.ru/images/thumb/b/b6/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/680px-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C7B604D9-6F55-9F42-BE54-DA1DF3BD69E9}"/>
              </a:ext>
            </a:extLst>
          </p:cNvPr>
          <p:cNvGrpSpPr/>
          <p:nvPr/>
        </p:nvGrpSpPr>
        <p:grpSpPr>
          <a:xfrm>
            <a:off x="-6623" y="0"/>
            <a:ext cx="313119" cy="6858000"/>
            <a:chOff x="-6623" y="0"/>
            <a:chExt cx="313119" cy="6858000"/>
          </a:xfrm>
        </p:grpSpPr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CB121828-F665-B54E-9DCE-1CEE88402D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0378" r="84564"/>
            <a:stretch/>
          </p:blipFill>
          <p:spPr>
            <a:xfrm>
              <a:off x="0" y="0"/>
              <a:ext cx="304801" cy="6858000"/>
            </a:xfrm>
            <a:prstGeom prst="rect">
              <a:avLst/>
            </a:prstGeom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33B6296A-7477-E04E-AE7C-0B2416A138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-3872"/>
            <a:stretch/>
          </p:blipFill>
          <p:spPr>
            <a:xfrm>
              <a:off x="-6623" y="5174"/>
              <a:ext cx="313119" cy="299626"/>
            </a:xfrm>
            <a:prstGeom prst="rect">
              <a:avLst/>
            </a:prstGeom>
          </p:spPr>
        </p:pic>
      </p:grp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EDDB3E9-A171-DE4F-8E81-AB29027DC27F}"/>
              </a:ext>
            </a:extLst>
          </p:cNvPr>
          <p:cNvSpPr/>
          <p:nvPr/>
        </p:nvSpPr>
        <p:spPr>
          <a:xfrm>
            <a:off x="304802" y="396602"/>
            <a:ext cx="118871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2400" b="1" dirty="0"/>
              <a:t>«РУСТЭК» - Лицензирование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1F029A0-9BB4-6345-B654-FC1AA118FA52}"/>
              </a:ext>
            </a:extLst>
          </p:cNvPr>
          <p:cNvSpPr/>
          <p:nvPr/>
        </p:nvSpPr>
        <p:spPr>
          <a:xfrm>
            <a:off x="6962238" y="1832957"/>
            <a:ext cx="4435573" cy="16311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  <a:spcAft>
                <a:spcPts val="800"/>
              </a:spcAft>
            </a:pPr>
            <a:r>
              <a:rPr lang="ru-RU" sz="2400" dirty="0">
                <a:ea typeface="Roboto" panose="02000000000000000000" pitchFamily="2" charset="0"/>
              </a:rPr>
              <a:t>Лицензирование</a:t>
            </a:r>
          </a:p>
          <a:p>
            <a:pPr>
              <a:lnSpc>
                <a:spcPct val="150000"/>
              </a:lnSpc>
              <a:spcAft>
                <a:spcPts val="800"/>
              </a:spcAft>
            </a:pPr>
            <a:r>
              <a:rPr lang="ru-RU" sz="1800" dirty="0">
                <a:ea typeface="Roboto" panose="02000000000000000000" pitchFamily="2" charset="0"/>
              </a:rPr>
              <a:t>1. По серверам</a:t>
            </a:r>
          </a:p>
          <a:p>
            <a:pPr>
              <a:lnSpc>
                <a:spcPct val="150000"/>
              </a:lnSpc>
              <a:spcAft>
                <a:spcPts val="800"/>
              </a:spcAft>
            </a:pPr>
            <a:r>
              <a:rPr lang="ru-RU" sz="1800" dirty="0">
                <a:ea typeface="Roboto" panose="02000000000000000000" pitchFamily="2" charset="0"/>
              </a:rPr>
              <a:t>2. Не зависит от комплектации сервера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A2B56692-8763-534D-9F91-BCB05AC88829}"/>
              </a:ext>
            </a:extLst>
          </p:cNvPr>
          <p:cNvSpPr/>
          <p:nvPr/>
        </p:nvSpPr>
        <p:spPr>
          <a:xfrm>
            <a:off x="534787" y="1832957"/>
            <a:ext cx="5713614" cy="2046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800"/>
              </a:spcAft>
            </a:pPr>
            <a:r>
              <a:rPr lang="ru-RU" sz="2400" dirty="0">
                <a:ea typeface="Roboto" panose="02000000000000000000" pitchFamily="2" charset="0"/>
              </a:rPr>
              <a:t>Варианты поставки</a:t>
            </a:r>
            <a:endParaRPr lang="en-US" sz="2400" dirty="0">
              <a:ea typeface="Roboto" panose="02000000000000000000" pitchFamily="2" charset="0"/>
            </a:endParaRPr>
          </a:p>
          <a:p>
            <a:pPr marL="457200" indent="-457200">
              <a:lnSpc>
                <a:spcPct val="150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ru-RU" sz="1800" dirty="0">
                <a:ea typeface="Roboto" panose="02000000000000000000" pitchFamily="2" charset="0"/>
              </a:rPr>
              <a:t>Лицензии ПО (не облагается НДС)</a:t>
            </a:r>
          </a:p>
          <a:p>
            <a:pPr marL="457200" indent="-457200">
              <a:lnSpc>
                <a:spcPct val="150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ru-RU" sz="1800" dirty="0">
                <a:ea typeface="Roboto" panose="02000000000000000000" pitchFamily="2" charset="0"/>
              </a:rPr>
              <a:t>Программно-аппаратный комплекс ПАК (оборудовании + лицензии). </a:t>
            </a:r>
          </a:p>
        </p:txBody>
      </p:sp>
    </p:spTree>
    <p:extLst>
      <p:ext uri="{BB962C8B-B14F-4D97-AF65-F5344CB8AC3E}">
        <p14:creationId xmlns:p14="http://schemas.microsoft.com/office/powerpoint/2010/main" val="967025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8" y="0"/>
            <a:ext cx="12192007" cy="6886668"/>
          </a:xfrm>
          <a:prstGeom prst="rect">
            <a:avLst/>
          </a:prstGeom>
        </p:spPr>
      </p:pic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utoShape 4" descr="http://www.tadviser.ru/images/thumb/b/b6/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/680px-%D0%9F%D1%80%D0%BE%D0%B3%D0%BD%D0%BE%D0%B7_%D0%BE%D0%B1%D1%8A%D0%B5%D0%BC%D0%B0_%D1%80%D1%8B%D0%BD%D0%BA%D0%B0_%D0%BE%D0%B1%D0%BB%D0%B0%D1%87%D0%BD%D1%8B%D1%85_%D1%83%D1%81%D0%BB%D1%83%D0%B3_%D0%B2_%D0%A0%D0%BE%D1%81%D1%81%D0%B8%D0%B8_%D0%B2_2015-2020_%D0%B3%D0%BE%D0%B4%D1%8B_SAP_%D0%A1%D0%9D%D0%93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Скругленный прямоугольник 10"/>
          <p:cNvSpPr/>
          <p:nvPr/>
        </p:nvSpPr>
        <p:spPr>
          <a:xfrm rot="10800000">
            <a:off x="1270035" y="2981146"/>
            <a:ext cx="9348859" cy="88547"/>
          </a:xfrm>
          <a:custGeom>
            <a:avLst/>
            <a:gdLst>
              <a:gd name="connsiteX0" fmla="*/ 0 w 5227536"/>
              <a:gd name="connsiteY0" fmla="*/ 203708 h 1222224"/>
              <a:gd name="connsiteX1" fmla="*/ 203708 w 5227536"/>
              <a:gd name="connsiteY1" fmla="*/ 0 h 1222224"/>
              <a:gd name="connsiteX2" fmla="*/ 5023828 w 5227536"/>
              <a:gd name="connsiteY2" fmla="*/ 0 h 1222224"/>
              <a:gd name="connsiteX3" fmla="*/ 5227536 w 5227536"/>
              <a:gd name="connsiteY3" fmla="*/ 203708 h 1222224"/>
              <a:gd name="connsiteX4" fmla="*/ 5227536 w 5227536"/>
              <a:gd name="connsiteY4" fmla="*/ 1018516 h 1222224"/>
              <a:gd name="connsiteX5" fmla="*/ 5023828 w 5227536"/>
              <a:gd name="connsiteY5" fmla="*/ 1222224 h 1222224"/>
              <a:gd name="connsiteX6" fmla="*/ 203708 w 5227536"/>
              <a:gd name="connsiteY6" fmla="*/ 1222224 h 1222224"/>
              <a:gd name="connsiteX7" fmla="*/ 0 w 5227536"/>
              <a:gd name="connsiteY7" fmla="*/ 1018516 h 1222224"/>
              <a:gd name="connsiteX8" fmla="*/ 0 w 5227536"/>
              <a:gd name="connsiteY8" fmla="*/ 203708 h 1222224"/>
              <a:gd name="connsiteX0" fmla="*/ 0 w 5227536"/>
              <a:gd name="connsiteY0" fmla="*/ 203708 h 1222224"/>
              <a:gd name="connsiteX1" fmla="*/ 203708 w 5227536"/>
              <a:gd name="connsiteY1" fmla="*/ 0 h 1222224"/>
              <a:gd name="connsiteX2" fmla="*/ 5023828 w 5227536"/>
              <a:gd name="connsiteY2" fmla="*/ 0 h 1222224"/>
              <a:gd name="connsiteX3" fmla="*/ 5227536 w 5227536"/>
              <a:gd name="connsiteY3" fmla="*/ 203708 h 1222224"/>
              <a:gd name="connsiteX4" fmla="*/ 5227536 w 5227536"/>
              <a:gd name="connsiteY4" fmla="*/ 1018516 h 1222224"/>
              <a:gd name="connsiteX5" fmla="*/ 5023828 w 5227536"/>
              <a:gd name="connsiteY5" fmla="*/ 1222224 h 1222224"/>
              <a:gd name="connsiteX6" fmla="*/ 203708 w 5227536"/>
              <a:gd name="connsiteY6" fmla="*/ 1222224 h 1222224"/>
              <a:gd name="connsiteX7" fmla="*/ 0 w 5227536"/>
              <a:gd name="connsiteY7" fmla="*/ 1018516 h 1222224"/>
              <a:gd name="connsiteX8" fmla="*/ 0 w 5227536"/>
              <a:gd name="connsiteY8" fmla="*/ 203708 h 1222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27536" h="1222224">
                <a:moveTo>
                  <a:pt x="0" y="203708"/>
                </a:moveTo>
                <a:cubicBezTo>
                  <a:pt x="0" y="91203"/>
                  <a:pt x="91203" y="0"/>
                  <a:pt x="203708" y="0"/>
                </a:cubicBezTo>
                <a:lnTo>
                  <a:pt x="5023828" y="0"/>
                </a:lnTo>
                <a:cubicBezTo>
                  <a:pt x="5136333" y="0"/>
                  <a:pt x="5227536" y="91203"/>
                  <a:pt x="5227536" y="203708"/>
                </a:cubicBezTo>
                <a:lnTo>
                  <a:pt x="5227536" y="1018516"/>
                </a:lnTo>
                <a:cubicBezTo>
                  <a:pt x="5227536" y="1131021"/>
                  <a:pt x="5136333" y="1222224"/>
                  <a:pt x="5023828" y="1222224"/>
                </a:cubicBezTo>
                <a:lnTo>
                  <a:pt x="203708" y="1222224"/>
                </a:lnTo>
                <a:cubicBezTo>
                  <a:pt x="91203" y="1222224"/>
                  <a:pt x="0" y="1131021"/>
                  <a:pt x="0" y="1018516"/>
                </a:cubicBezTo>
                <a:lnTo>
                  <a:pt x="0" y="203708"/>
                </a:lnTo>
                <a:close/>
              </a:path>
            </a:pathLst>
          </a:custGeom>
          <a:gradFill flip="none" rotWithShape="1">
            <a:gsLst>
              <a:gs pos="0">
                <a:srgbClr val="69138E">
                  <a:lumMod val="94000"/>
                  <a:lumOff val="6000"/>
                  <a:alpha val="0"/>
                </a:srgbClr>
              </a:gs>
              <a:gs pos="27000">
                <a:srgbClr val="7E1D9E">
                  <a:alpha val="61000"/>
                </a:srgbClr>
              </a:gs>
              <a:gs pos="65000">
                <a:srgbClr val="9D2FA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7"/>
          <a:srcRect l="-3872"/>
          <a:stretch/>
        </p:blipFill>
        <p:spPr>
          <a:xfrm>
            <a:off x="368300" y="28668"/>
            <a:ext cx="1231900" cy="1234075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24BFCF4-E4DF-4F43-8A91-E0DC1B092ED7}"/>
              </a:ext>
            </a:extLst>
          </p:cNvPr>
          <p:cNvSpPr/>
          <p:nvPr/>
        </p:nvSpPr>
        <p:spPr>
          <a:xfrm>
            <a:off x="1" y="3049738"/>
            <a:ext cx="1219199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solidFill>
                  <a:schemeClr val="bg1"/>
                </a:solidFill>
              </a:rPr>
              <a:t>Программный комплекс для организации инфраструктуры виртуальных рабочих столов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DBB5CB53-90D1-724A-BB5E-10C3CD312D3E}"/>
              </a:ext>
            </a:extLst>
          </p:cNvPr>
          <p:cNvSpPr/>
          <p:nvPr/>
        </p:nvSpPr>
        <p:spPr>
          <a:xfrm>
            <a:off x="0" y="1746519"/>
            <a:ext cx="1219199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>
                <a:solidFill>
                  <a:schemeClr val="bg1"/>
                </a:solidFill>
                <a:latin typeface="Azonix" pitchFamily="50" charset="0"/>
              </a:rPr>
              <a:t>«РУСТЭК</a:t>
            </a:r>
            <a:r>
              <a:rPr lang="en-US" sz="7200" dirty="0">
                <a:solidFill>
                  <a:schemeClr val="bg1"/>
                </a:solidFill>
                <a:latin typeface="Azonix" pitchFamily="50" charset="0"/>
              </a:rPr>
              <a:t>.VDI</a:t>
            </a:r>
            <a:r>
              <a:rPr lang="ru-RU" sz="7200" dirty="0">
                <a:solidFill>
                  <a:schemeClr val="bg1"/>
                </a:solidFill>
                <a:latin typeface="Azonix" pitchFamily="50" charset="0"/>
              </a:rPr>
              <a:t>»</a:t>
            </a:r>
            <a:endParaRPr lang="en-US" sz="7200" dirty="0">
              <a:solidFill>
                <a:schemeClr val="bg1"/>
              </a:solidFill>
              <a:latin typeface="Azonix" pitchFamily="50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B36A24D7-BD47-9845-8C4C-4C3E28456BD4}"/>
              </a:ext>
            </a:extLst>
          </p:cNvPr>
          <p:cNvSpPr/>
          <p:nvPr/>
        </p:nvSpPr>
        <p:spPr>
          <a:xfrm>
            <a:off x="4631672" y="4770605"/>
            <a:ext cx="372261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6D6E70"/>
                </a:solidFill>
                <a:latin typeface="+mj-lt"/>
              </a:rPr>
              <a:t>Запись в реестре №</a:t>
            </a:r>
            <a:r>
              <a:rPr lang="ru-RU" sz="2000" dirty="0">
                <a:solidFill>
                  <a:srgbClr val="6D6E70"/>
                </a:solidFill>
              </a:rPr>
              <a:t>12667</a:t>
            </a:r>
            <a:endParaRPr lang="ru-RU" sz="2000" dirty="0">
              <a:solidFill>
                <a:srgbClr val="6D6E70"/>
              </a:solidFill>
              <a:latin typeface="+mj-lt"/>
            </a:endParaRPr>
          </a:p>
        </p:txBody>
      </p:sp>
      <p:pic>
        <p:nvPicPr>
          <p:cNvPr id="12" name="Picture 7">
            <a:extLst>
              <a:ext uri="{FF2B5EF4-FFF2-40B4-BE49-F238E27FC236}">
                <a16:creationId xmlns:a16="http://schemas.microsoft.com/office/drawing/2014/main" id="{7FC13209-AF3D-0E46-99C3-886E8264E6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6315" y="4525092"/>
            <a:ext cx="1526573" cy="954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9627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8&quot;&gt;&lt;elem m_fUsage=&quot;1.89999999999999990000E+000&quot;&gt;&lt;m_msothmcolidx val=&quot;0&quot;/&gt;&lt;m_rgb r=&quot;31&quot; g=&quot;9F&quot; b=&quot;5B&quot;/&gt;&lt;m_nBrightness val=&quot;0&quot;/&gt;&lt;/elem&gt;&lt;elem m_fUsage=&quot;1.53899999999999990000E+000&quot;&gt;&lt;m_msothmcolidx val=&quot;0&quot;/&gt;&lt;m_rgb r=&quot;00&quot; g=&quot;97&quot; b=&quot;57&quot;/&gt;&lt;m_nBrightness val=&quot;0&quot;/&gt;&lt;/elem&gt;&lt;elem m_fUsage=&quot;1.29618459900000030000E+000&quot;&gt;&lt;m_msothmcolidx val=&quot;0&quot;/&gt;&lt;m_rgb r=&quot;4E&quot; g=&quot;E2&quot; b=&quot;57&quot;/&gt;&lt;m_nBrightness val=&quot;0&quot;/&gt;&lt;/elem&gt;&lt;elem m_fUsage=&quot;6.56100000000000130000E-001&quot;&gt;&lt;m_msothmcolidx val=&quot;0&quot;/&gt;&lt;m_rgb r=&quot;00&quot; g=&quot;6F&quot; b=&quot;40&quot;/&gt;&lt;m_nBrightness val=&quot;0&quot;/&gt;&lt;/elem&gt;&lt;elem m_fUsage=&quot;5.90490000000000180000E-001&quot;&gt;&lt;m_msothmcolidx val=&quot;0&quot;/&gt;&lt;m_rgb r=&quot;00&quot; g=&quot;77&quot; b=&quot;44&quot;/&gt;&lt;m_nBrightness val=&quot;0&quot;/&gt;&lt;/elem&gt;&lt;elem m_fUsage=&quot;5.31441000000000160000E-001&quot;&gt;&lt;m_msothmcolidx val=&quot;0&quot;/&gt;&lt;m_rgb r=&quot;B1&quot; g=&quot;DA&quot; b=&quot;81&quot;/&gt;&lt;m_nBrightness val=&quot;0&quot;/&gt;&lt;/elem&gt;&lt;elem m_fUsage=&quot;3.48678440100000150000E-001&quot;&gt;&lt;m_msothmcolidx val=&quot;0&quot;/&gt;&lt;m_rgb r=&quot;DD&quot; g=&quot;DD&quot; b=&quot;DD&quot;/&gt;&lt;m_nBrightness val=&quot;0&quot;/&gt;&lt;/elem&gt;&lt;elem m_fUsage=&quot;3.13810596090000170000E-001&quot;&gt;&lt;m_msothmcolidx val=&quot;0&quot;/&gt;&lt;m_rgb r=&quot;B2&quot; g=&quot;B2&quot; b=&quot;B2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944</TotalTime>
  <Words>712</Words>
  <Application>Microsoft Office PowerPoint</Application>
  <PresentationFormat>Широкоэкранный</PresentationFormat>
  <Paragraphs>114</Paragraphs>
  <Slides>17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8" baseType="lpstr">
      <vt:lpstr>Arial</vt:lpstr>
      <vt:lpstr>Azonix</vt:lpstr>
      <vt:lpstr>Open Sans</vt:lpstr>
      <vt:lpstr>Roboto</vt:lpstr>
      <vt:lpstr>Segoe UI</vt:lpstr>
      <vt:lpstr>SF PRO DISPLAY LIGHT</vt:lpstr>
      <vt:lpstr>Tahoma</vt:lpstr>
      <vt:lpstr>Times</vt:lpstr>
      <vt:lpstr>Wingdings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документа</dc:title>
  <dc:creator>Мегрелишвили Георгий</dc:creator>
  <cp:lastModifiedBy>Шайдулов Рустам Равилевич</cp:lastModifiedBy>
  <cp:revision>9419</cp:revision>
  <cp:lastPrinted>2020-08-31T11:19:43Z</cp:lastPrinted>
  <dcterms:created xsi:type="dcterms:W3CDTF">2012-12-12T15:55:35Z</dcterms:created>
  <dcterms:modified xsi:type="dcterms:W3CDTF">2022-03-23T09:3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MSW-AAA123-20130610-</vt:lpwstr>
  </property>
  <property fmtid="{D5CDD505-2E9C-101B-9397-08002B2CF9AE}" pid="10" name="Office2010WasSaved">
    <vt:lpwstr>1</vt:lpwstr>
  </property>
</Properties>
</file>